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436" r:id="rId2"/>
    <p:sldId id="454" r:id="rId3"/>
    <p:sldId id="443" r:id="rId4"/>
    <p:sldId id="462" r:id="rId5"/>
    <p:sldId id="458" r:id="rId6"/>
    <p:sldId id="444" r:id="rId7"/>
    <p:sldId id="448" r:id="rId8"/>
    <p:sldId id="456" r:id="rId9"/>
    <p:sldId id="449" r:id="rId10"/>
    <p:sldId id="406" r:id="rId11"/>
    <p:sldId id="459" r:id="rId12"/>
    <p:sldId id="450" r:id="rId13"/>
    <p:sldId id="451" r:id="rId14"/>
    <p:sldId id="452" r:id="rId15"/>
    <p:sldId id="453" r:id="rId16"/>
    <p:sldId id="457" r:id="rId17"/>
    <p:sldId id="460" r:id="rId18"/>
    <p:sldId id="412" r:id="rId19"/>
    <p:sldId id="413" r:id="rId20"/>
    <p:sldId id="461" r:id="rId21"/>
    <p:sldId id="455" r:id="rId22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1B23"/>
    <a:srgbClr val="FF7C80"/>
    <a:srgbClr val="FEE4DA"/>
    <a:srgbClr val="EEEE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067" autoAdjust="0"/>
    <p:restoredTop sz="90929"/>
  </p:normalViewPr>
  <p:slideViewPr>
    <p:cSldViewPr>
      <p:cViewPr>
        <p:scale>
          <a:sx n="70" d="100"/>
          <a:sy n="70" d="100"/>
        </p:scale>
        <p:origin x="-1152" y="-180"/>
      </p:cViewPr>
      <p:guideLst>
        <p:guide orient="horz" pos="2160"/>
        <p:guide pos="5424"/>
        <p:guide pos="3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26DB5B-90F3-4AA6-8296-59E77D7E9726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9AA93115-E759-4956-B378-4F7F142DD33C}">
      <dgm:prSet phldrT="[Text]"/>
      <dgm:spPr/>
      <dgm:t>
        <a:bodyPr/>
        <a:lstStyle/>
        <a:p>
          <a:endParaRPr lang="el-GR" dirty="0"/>
        </a:p>
      </dgm:t>
    </dgm:pt>
    <dgm:pt modelId="{7A6AB428-63AC-495A-A0F4-700FE60D4C2F}" type="parTrans" cxnId="{906CAB21-C4E1-446D-A881-3EA474B9E865}">
      <dgm:prSet/>
      <dgm:spPr/>
      <dgm:t>
        <a:bodyPr/>
        <a:lstStyle/>
        <a:p>
          <a:endParaRPr lang="el-GR"/>
        </a:p>
      </dgm:t>
    </dgm:pt>
    <dgm:pt modelId="{1BFEBB93-5E72-44BB-8BA9-C0339C17E61A}" type="sibTrans" cxnId="{906CAB21-C4E1-446D-A881-3EA474B9E865}">
      <dgm:prSet/>
      <dgm:spPr/>
      <dgm:t>
        <a:bodyPr/>
        <a:lstStyle/>
        <a:p>
          <a:endParaRPr lang="el-GR"/>
        </a:p>
      </dgm:t>
    </dgm:pt>
    <dgm:pt modelId="{4C90ADCF-F8A1-4A1C-BB7A-FAB6661B5D37}" type="pres">
      <dgm:prSet presAssocID="{EF26DB5B-90F3-4AA6-8296-59E77D7E9726}" presName="arrowDiagram" presStyleCnt="0">
        <dgm:presLayoutVars>
          <dgm:chMax val="5"/>
          <dgm:dir/>
          <dgm:resizeHandles val="exact"/>
        </dgm:presLayoutVars>
      </dgm:prSet>
      <dgm:spPr/>
    </dgm:pt>
    <dgm:pt modelId="{0CA8E0AA-D44B-4290-86A1-AA6D1DFBCD7D}" type="pres">
      <dgm:prSet presAssocID="{EF26DB5B-90F3-4AA6-8296-59E77D7E9726}" presName="arrow" presStyleLbl="bgShp" presStyleIdx="0" presStyleCnt="1" custLinFactNeighborX="10239" custLinFactNeighborY="-8441"/>
      <dgm:spPr>
        <a:solidFill>
          <a:schemeClr val="bg1"/>
        </a:solidFill>
        <a:ln w="50800" cmpd="sng">
          <a:solidFill>
            <a:srgbClr val="FF0000"/>
          </a:solidFill>
        </a:ln>
      </dgm:spPr>
    </dgm:pt>
    <dgm:pt modelId="{32241772-E436-4287-A91C-F2090611489E}" type="pres">
      <dgm:prSet presAssocID="{EF26DB5B-90F3-4AA6-8296-59E77D7E9726}" presName="arrowDiagram1" presStyleCnt="0">
        <dgm:presLayoutVars>
          <dgm:bulletEnabled val="1"/>
        </dgm:presLayoutVars>
      </dgm:prSet>
      <dgm:spPr/>
    </dgm:pt>
    <dgm:pt modelId="{7E72B55D-CE6D-48FF-A7D3-93998C57DDE1}" type="pres">
      <dgm:prSet presAssocID="{9AA93115-E759-4956-B378-4F7F142DD33C}" presName="bullet1" presStyleLbl="node1" presStyleIdx="0" presStyleCnt="1"/>
      <dgm:spPr>
        <a:noFill/>
        <a:ln>
          <a:noFill/>
        </a:ln>
      </dgm:spPr>
    </dgm:pt>
    <dgm:pt modelId="{74FD0F70-FD22-4795-BDAC-1526D0F468D6}" type="pres">
      <dgm:prSet presAssocID="{9AA93115-E759-4956-B378-4F7F142DD33C}" presName="textBox1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906CAB21-C4E1-446D-A881-3EA474B9E865}" srcId="{EF26DB5B-90F3-4AA6-8296-59E77D7E9726}" destId="{9AA93115-E759-4956-B378-4F7F142DD33C}" srcOrd="0" destOrd="0" parTransId="{7A6AB428-63AC-495A-A0F4-700FE60D4C2F}" sibTransId="{1BFEBB93-5E72-44BB-8BA9-C0339C17E61A}"/>
    <dgm:cxn modelId="{09C0C9D8-7B24-43F0-8934-2028E44A9973}" type="presOf" srcId="{EF26DB5B-90F3-4AA6-8296-59E77D7E9726}" destId="{4C90ADCF-F8A1-4A1C-BB7A-FAB6661B5D37}" srcOrd="0" destOrd="0" presId="urn:microsoft.com/office/officeart/2005/8/layout/arrow2"/>
    <dgm:cxn modelId="{65D07C8D-19AF-4A92-8FAE-E95392182843}" type="presOf" srcId="{9AA93115-E759-4956-B378-4F7F142DD33C}" destId="{74FD0F70-FD22-4795-BDAC-1526D0F468D6}" srcOrd="0" destOrd="0" presId="urn:microsoft.com/office/officeart/2005/8/layout/arrow2"/>
    <dgm:cxn modelId="{B7EDD062-77AB-4748-BB55-B2268BAFF56E}" type="presParOf" srcId="{4C90ADCF-F8A1-4A1C-BB7A-FAB6661B5D37}" destId="{0CA8E0AA-D44B-4290-86A1-AA6D1DFBCD7D}" srcOrd="0" destOrd="0" presId="urn:microsoft.com/office/officeart/2005/8/layout/arrow2"/>
    <dgm:cxn modelId="{70ECC819-13B3-4EE9-86F9-9B04CDAC1250}" type="presParOf" srcId="{4C90ADCF-F8A1-4A1C-BB7A-FAB6661B5D37}" destId="{32241772-E436-4287-A91C-F2090611489E}" srcOrd="1" destOrd="0" presId="urn:microsoft.com/office/officeart/2005/8/layout/arrow2"/>
    <dgm:cxn modelId="{46A17760-6EA0-4FB8-BB8B-189C42517505}" type="presParOf" srcId="{32241772-E436-4287-A91C-F2090611489E}" destId="{7E72B55D-CE6D-48FF-A7D3-93998C57DDE1}" srcOrd="0" destOrd="0" presId="urn:microsoft.com/office/officeart/2005/8/layout/arrow2"/>
    <dgm:cxn modelId="{AB11166A-F024-4090-AB31-2A51A7987751}" type="presParOf" srcId="{32241772-E436-4287-A91C-F2090611489E}" destId="{74FD0F70-FD22-4795-BDAC-1526D0F468D6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A8E0AA-D44B-4290-86A1-AA6D1DFBCD7D}">
      <dsp:nvSpPr>
        <dsp:cNvPr id="0" name=""/>
        <dsp:cNvSpPr/>
      </dsp:nvSpPr>
      <dsp:spPr>
        <a:xfrm>
          <a:off x="422716" y="0"/>
          <a:ext cx="5625955" cy="3516222"/>
        </a:xfrm>
        <a:prstGeom prst="swooshArrow">
          <a:avLst>
            <a:gd name="adj1" fmla="val 25000"/>
            <a:gd name="adj2" fmla="val 25000"/>
          </a:avLst>
        </a:prstGeom>
        <a:solidFill>
          <a:schemeClr val="bg1"/>
        </a:solidFill>
        <a:ln w="50800" cmpd="sng">
          <a:solidFill>
            <a:srgbClr val="FF000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72B55D-CE6D-48FF-A7D3-93998C57DDE1}">
      <dsp:nvSpPr>
        <dsp:cNvPr id="0" name=""/>
        <dsp:cNvSpPr/>
      </dsp:nvSpPr>
      <dsp:spPr>
        <a:xfrm>
          <a:off x="4503962" y="713089"/>
          <a:ext cx="416320" cy="416320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FD0F70-FD22-4795-BDAC-1526D0F468D6}">
      <dsp:nvSpPr>
        <dsp:cNvPr id="0" name=""/>
        <dsp:cNvSpPr/>
      </dsp:nvSpPr>
      <dsp:spPr>
        <a:xfrm>
          <a:off x="2461740" y="921250"/>
          <a:ext cx="2250382" cy="2594971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220600" bIns="0" numCol="1" spcCol="1270" anchor="t" anchorCtr="0">
          <a:noAutofit/>
        </a:bodyPr>
        <a:lstStyle/>
        <a:p>
          <a:pPr lvl="0" algn="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6500" kern="1200" dirty="0"/>
        </a:p>
      </dsp:txBody>
      <dsp:txXfrm>
        <a:off x="2571595" y="1031105"/>
        <a:ext cx="2030672" cy="23752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fld id="{B4CA0228-C1CC-4FBB-A575-035018F4A8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047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32" charset="-128"/>
              </a:defRPr>
            </a:lvl1pPr>
          </a:lstStyle>
          <a:p>
            <a:pPr>
              <a:defRPr/>
            </a:pPr>
            <a:fld id="{4A20CE18-7E21-472B-A8AB-72AF23E3BC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9957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32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3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3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3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3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powerpoint banner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867400"/>
            <a:ext cx="91440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20700" y="2286000"/>
            <a:ext cx="80899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09588" y="3276600"/>
            <a:ext cx="8101012" cy="1752600"/>
          </a:xfrm>
        </p:spPr>
        <p:txBody>
          <a:bodyPr/>
          <a:lstStyle>
            <a:lvl1pPr marL="0" indent="0">
              <a:buFont typeface="Wingdings" pitchFamily="-32" charset="2"/>
              <a:buNone/>
              <a:defRPr>
                <a:solidFill>
                  <a:srgbClr val="FC1B23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28600"/>
            <a:ext cx="2027237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1650" y="228600"/>
            <a:ext cx="5929313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4505797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1650" y="1447800"/>
            <a:ext cx="3978275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2325" y="1447800"/>
            <a:ext cx="3978275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228600"/>
            <a:ext cx="81026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1650" y="1447800"/>
            <a:ext cx="810895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609600" y="1219200"/>
            <a:ext cx="8001000" cy="0"/>
          </a:xfrm>
          <a:prstGeom prst="line">
            <a:avLst/>
          </a:prstGeom>
          <a:noFill/>
          <a:ln w="28575">
            <a:solidFill>
              <a:srgbClr val="FC1B23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l-GR">
              <a:ea typeface="ＭＳ Ｐゴシック" pitchFamily="-32" charset="-128"/>
            </a:endParaRPr>
          </a:p>
        </p:txBody>
      </p:sp>
      <p:pic>
        <p:nvPicPr>
          <p:cNvPr id="8197" name="Picture 12" descr="powerpoint banner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5867400"/>
            <a:ext cx="91440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6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Arial Black" pitchFamily="1" charset="0"/>
          <a:ea typeface="ＭＳ Ｐゴシック" pitchFamily="-32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-32" charset="2"/>
        <a:buChar char="§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-32" charset="2"/>
        <a:buChar char="§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-32" charset="2"/>
        <a:buChar char="§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FC1B23"/>
        </a:buClr>
        <a:buSzPct val="80000"/>
        <a:buFont typeface="Wingdings" pitchFamily="-32" charset="2"/>
        <a:buChar char="§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2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image" Target="../media/image3.wmf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4.wmf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5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6.wmf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7.wmf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1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youtube.com/watch?v=6-Y4CSnE3CI&amp;list=UUnSW3S9jmHFYxI2ZCJXFFDQ&amp;index=51&amp;feature=plpp_video" TargetMode="External"/><Relationship Id="rId13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7.jpeg"/><Relationship Id="rId12" Type="http://schemas.openxmlformats.org/officeDocument/2006/relationships/hyperlink" Target="http://www.youtube.com/watch?v=jVA3eZckYMg&amp;list=UUnSW3S9jmHFYxI2ZCJXFFDQ&amp;index=50&amp;feature=plpp_video" TargetMode="External"/><Relationship Id="rId2" Type="http://schemas.openxmlformats.org/officeDocument/2006/relationships/hyperlink" Target="http://www.youtube.com/watch?v=8R3vdF4lfuI&amp;list=UUnSW3S9jmHFYxI2ZCJXFFDQ&amp;index=52&amp;feature=plpp_video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youtube.com/watch?v=EeDXq3xBdb0&amp;list=UUnSW3S9jmHFYxI2ZCJXFFDQ&amp;index=54&amp;feature=plpp_video" TargetMode="External"/><Relationship Id="rId11" Type="http://schemas.openxmlformats.org/officeDocument/2006/relationships/image" Target="../media/image39.jpeg"/><Relationship Id="rId5" Type="http://schemas.openxmlformats.org/officeDocument/2006/relationships/image" Target="../media/image36.jpeg"/><Relationship Id="rId10" Type="http://schemas.openxmlformats.org/officeDocument/2006/relationships/hyperlink" Target="http://www.youtube.com/watch?v=pbbltQYu3W4&amp;list=UUnSW3S9jmHFYxI2ZCJXFFDQ&amp;index=53&amp;feature=plpp_video" TargetMode="External"/><Relationship Id="rId4" Type="http://schemas.openxmlformats.org/officeDocument/2006/relationships/hyperlink" Target="http://www.youtube.com/watch?v=9WZgPvgy2a4&amp;list=UUnSW3S9jmHFYxI2ZCJXFFDQ&amp;index=55&amp;feature=plpp_video" TargetMode="External"/><Relationship Id="rId9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4" descr="Cover_Swoosh - Hi 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16632"/>
            <a:ext cx="9144000" cy="393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Subtitle 4"/>
          <p:cNvSpPr>
            <a:spLocks noGrp="1"/>
          </p:cNvSpPr>
          <p:nvPr>
            <p:ph type="subTitle" idx="1"/>
          </p:nvPr>
        </p:nvSpPr>
        <p:spPr>
          <a:xfrm>
            <a:off x="125760" y="2996952"/>
            <a:ext cx="8892480" cy="1161517"/>
          </a:xfrm>
        </p:spPr>
        <p:txBody>
          <a:bodyPr/>
          <a:lstStyle/>
          <a:p>
            <a:pPr algn="ctr"/>
            <a:r>
              <a:rPr lang="el-GR" sz="4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Η τεχνολογία του </a:t>
            </a:r>
          </a:p>
          <a:p>
            <a:pPr algn="ctr"/>
            <a:r>
              <a:rPr lang="en-US" sz="4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riving Performance</a:t>
            </a:r>
            <a:endParaRPr lang="el-GR" sz="44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ubtitle 4"/>
          <p:cNvSpPr txBox="1">
            <a:spLocks/>
          </p:cNvSpPr>
          <p:nvPr/>
        </p:nvSpPr>
        <p:spPr bwMode="auto">
          <a:xfrm>
            <a:off x="395536" y="4941168"/>
            <a:ext cx="7775575" cy="1079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Clr>
                <a:srgbClr val="FF0000"/>
              </a:buClr>
              <a:defRPr/>
            </a:pPr>
            <a:r>
              <a:rPr lang="el-GR" b="1" i="1" kern="0" dirty="0" smtClean="0">
                <a:latin typeface="Calibri" panose="020F0502020204030204" pitchFamily="34" charset="0"/>
              </a:rPr>
              <a:t>Χρονόπουλος Μιχάλης</a:t>
            </a:r>
            <a:r>
              <a:rPr lang="en-US" b="1" i="1" kern="0" dirty="0">
                <a:latin typeface="Calibri" panose="020F0502020204030204" pitchFamily="34" charset="0"/>
              </a:rPr>
              <a:t> </a:t>
            </a:r>
            <a:r>
              <a:rPr lang="en-US" b="1" i="1" kern="0" dirty="0" smtClean="0">
                <a:latin typeface="Calibri" panose="020F0502020204030204" pitchFamily="34" charset="0"/>
              </a:rPr>
              <a:t>                                 G4S </a:t>
            </a:r>
            <a:r>
              <a:rPr lang="en-US" b="1" i="1" kern="0" dirty="0" err="1">
                <a:latin typeface="Calibri" panose="020F0502020204030204" pitchFamily="34" charset="0"/>
              </a:rPr>
              <a:t>Telematix</a:t>
            </a:r>
            <a:r>
              <a:rPr lang="en-US" b="1" i="1" kern="0" dirty="0">
                <a:latin typeface="Calibri" panose="020F0502020204030204" pitchFamily="34" charset="0"/>
              </a:rPr>
              <a:t> S.A.</a:t>
            </a:r>
            <a:r>
              <a:rPr lang="el-GR" b="1" i="1" kern="0" dirty="0">
                <a:latin typeface="Calibri" panose="020F0502020204030204" pitchFamily="34" charset="0"/>
              </a:rPr>
              <a:t> </a:t>
            </a:r>
            <a:endParaRPr lang="en-US" b="1" i="1" kern="0" dirty="0">
              <a:latin typeface="Calibri" panose="020F0502020204030204" pitchFamily="34" charset="0"/>
            </a:endParaRPr>
          </a:p>
          <a:p>
            <a:pPr>
              <a:spcBef>
                <a:spcPct val="20000"/>
              </a:spcBef>
              <a:buClr>
                <a:srgbClr val="FF0000"/>
              </a:buClr>
              <a:defRPr/>
            </a:pPr>
            <a:r>
              <a:rPr lang="en-US" b="1" i="1" kern="0" dirty="0" smtClean="0">
                <a:latin typeface="Calibri" panose="020F0502020204030204" pitchFamily="34" charset="0"/>
              </a:rPr>
              <a:t>Head of Technology                                                </a:t>
            </a:r>
            <a:r>
              <a:rPr lang="el-GR" b="1" i="1" kern="0" dirty="0" smtClean="0">
                <a:latin typeface="Calibri" panose="020F0502020204030204" pitchFamily="34" charset="0"/>
              </a:rPr>
              <a:t>27.3.2015 </a:t>
            </a:r>
            <a:endParaRPr lang="el-GR" b="1" i="1" kern="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28600"/>
            <a:ext cx="8345990" cy="990600"/>
          </a:xfrm>
        </p:spPr>
        <p:txBody>
          <a:bodyPr/>
          <a:lstStyle/>
          <a:p>
            <a:r>
              <a:rPr lang="el-GR" sz="4400" b="1" dirty="0" smtClean="0">
                <a:latin typeface="Calibri" panose="020F0502020204030204" pitchFamily="34" charset="0"/>
              </a:rPr>
              <a:t>Σύστημα οδηγικής συμπεριφοράς</a:t>
            </a:r>
            <a:endParaRPr lang="el-GR" sz="4400" b="1" dirty="0">
              <a:latin typeface="Calibri" panose="020F0502020204030204" pitchFamily="34" charset="0"/>
            </a:endParaRPr>
          </a:p>
        </p:txBody>
      </p:sp>
      <p:pic>
        <p:nvPicPr>
          <p:cNvPr id="10" name="Picture 1" descr="image00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99415" y="1616819"/>
            <a:ext cx="957263" cy="310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9" y="4572009"/>
            <a:ext cx="962025" cy="125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8" descr="C:\Documents and Settings\barakf\My Documents\My Pictures\שרטוט G סנסור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79489" y="1500174"/>
            <a:ext cx="2406650" cy="228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3686139" y="2467948"/>
            <a:ext cx="16446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600" dirty="0" smtClean="0">
                <a:latin typeface="Calibri" panose="020F0502020204030204" pitchFamily="34" charset="0"/>
              </a:rPr>
              <a:t>Στροφή αριστερά</a:t>
            </a:r>
            <a:endParaRPr lang="el-GR" sz="1600" dirty="0">
              <a:latin typeface="Calibri" panose="020F0502020204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4154" y="2467051"/>
            <a:ext cx="13101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600" dirty="0" smtClean="0">
                <a:latin typeface="Calibri" panose="020F0502020204030204" pitchFamily="34" charset="0"/>
              </a:rPr>
              <a:t>Στροφή δεξιά</a:t>
            </a:r>
            <a:endParaRPr lang="el-GR" sz="1600" dirty="0">
              <a:latin typeface="Calibri" panose="020F05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922408" y="1261578"/>
            <a:ext cx="1157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600" dirty="0" smtClean="0">
                <a:latin typeface="Calibri" panose="020F0502020204030204" pitchFamily="34" charset="0"/>
              </a:rPr>
              <a:t>Επιτάχυνση</a:t>
            </a:r>
            <a:endParaRPr lang="el-GR" sz="1600" dirty="0">
              <a:latin typeface="Calibri" panose="020F0502020204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22408" y="3714753"/>
            <a:ext cx="12428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600" dirty="0">
                <a:latin typeface="Calibri" panose="020F0502020204030204" pitchFamily="34" charset="0"/>
              </a:rPr>
              <a:t>Φ</a:t>
            </a:r>
            <a:r>
              <a:rPr lang="el-GR" sz="1600" dirty="0" smtClean="0">
                <a:latin typeface="Calibri" panose="020F0502020204030204" pitchFamily="34" charset="0"/>
              </a:rPr>
              <a:t>ρενάρισμα</a:t>
            </a:r>
            <a:endParaRPr lang="el-GR" sz="1600" dirty="0">
              <a:latin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4175" y="4071942"/>
            <a:ext cx="15374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latin typeface="Calibri" panose="020F0502020204030204" pitchFamily="34" charset="0"/>
              </a:rPr>
              <a:t>G sensor</a:t>
            </a:r>
          </a:p>
          <a:p>
            <a:pPr algn="ctr"/>
            <a:r>
              <a:rPr lang="el-GR" sz="1600" dirty="0" smtClean="0">
                <a:latin typeface="Calibri" panose="020F0502020204030204" pitchFamily="34" charset="0"/>
              </a:rPr>
              <a:t>(</a:t>
            </a:r>
            <a:r>
              <a:rPr lang="en-US" sz="1600" dirty="0" smtClean="0">
                <a:latin typeface="Calibri" panose="020F0502020204030204" pitchFamily="34" charset="0"/>
              </a:rPr>
              <a:t>Accelerometer</a:t>
            </a:r>
            <a:r>
              <a:rPr lang="el-GR" sz="1600" dirty="0" smtClean="0">
                <a:latin typeface="Calibri" panose="020F0502020204030204" pitchFamily="34" charset="0"/>
              </a:rPr>
              <a:t>)</a:t>
            </a:r>
            <a:endParaRPr lang="el-GR" sz="1600" dirty="0">
              <a:latin typeface="Calibri" panose="020F0502020204030204" pitchFamily="34" charset="0"/>
            </a:endParaRPr>
          </a:p>
        </p:txBody>
      </p:sp>
      <p:sp>
        <p:nvSpPr>
          <p:cNvPr id="30" name="Right Arrow Callout 29"/>
          <p:cNvSpPr/>
          <p:nvPr/>
        </p:nvSpPr>
        <p:spPr bwMode="auto">
          <a:xfrm>
            <a:off x="6429388" y="1915258"/>
            <a:ext cx="1714512" cy="357190"/>
          </a:xfrm>
          <a:prstGeom prst="rightArrowCallout">
            <a:avLst>
              <a:gd name="adj1" fmla="val 19829"/>
              <a:gd name="adj2" fmla="val 17242"/>
              <a:gd name="adj3" fmla="val 25000"/>
              <a:gd name="adj4" fmla="val 87701"/>
            </a:avLst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600" dirty="0" smtClean="0"/>
              <a:t>Very harsh</a:t>
            </a:r>
            <a:endParaRPr lang="el-GR" sz="1600" dirty="0"/>
          </a:p>
        </p:txBody>
      </p:sp>
      <p:sp>
        <p:nvSpPr>
          <p:cNvPr id="31" name="Right Arrow Callout 30"/>
          <p:cNvSpPr/>
          <p:nvPr/>
        </p:nvSpPr>
        <p:spPr bwMode="auto">
          <a:xfrm>
            <a:off x="6286512" y="2343886"/>
            <a:ext cx="1857388" cy="357190"/>
          </a:xfrm>
          <a:prstGeom prst="rightArrowCallout">
            <a:avLst>
              <a:gd name="adj1" fmla="val 19829"/>
              <a:gd name="adj2" fmla="val 17242"/>
              <a:gd name="adj3" fmla="val 25000"/>
              <a:gd name="adj4" fmla="val 87701"/>
            </a:avLst>
          </a:prstGeom>
          <a:solidFill>
            <a:srgbClr val="FCA74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600" dirty="0" smtClean="0"/>
              <a:t>Medium Harsh</a:t>
            </a:r>
            <a:endParaRPr lang="el-GR" sz="1600" dirty="0"/>
          </a:p>
        </p:txBody>
      </p:sp>
      <p:sp>
        <p:nvSpPr>
          <p:cNvPr id="32" name="Right Arrow Callout 31"/>
          <p:cNvSpPr/>
          <p:nvPr/>
        </p:nvSpPr>
        <p:spPr bwMode="auto">
          <a:xfrm>
            <a:off x="5929322" y="2772514"/>
            <a:ext cx="2214578" cy="357190"/>
          </a:xfrm>
          <a:prstGeom prst="rightArrowCallout">
            <a:avLst>
              <a:gd name="adj1" fmla="val 19829"/>
              <a:gd name="adj2" fmla="val 17242"/>
              <a:gd name="adj3" fmla="val 25000"/>
              <a:gd name="adj4" fmla="val 87701"/>
            </a:avLst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600" dirty="0" smtClean="0"/>
              <a:t>Harsh</a:t>
            </a:r>
            <a:endParaRPr lang="el-GR" sz="1600" dirty="0"/>
          </a:p>
        </p:txBody>
      </p:sp>
      <p:sp>
        <p:nvSpPr>
          <p:cNvPr id="33" name="Right Arrow Callout 32"/>
          <p:cNvSpPr/>
          <p:nvPr/>
        </p:nvSpPr>
        <p:spPr bwMode="auto">
          <a:xfrm>
            <a:off x="5929322" y="3272580"/>
            <a:ext cx="2286016" cy="357190"/>
          </a:xfrm>
          <a:prstGeom prst="rightArrowCallout">
            <a:avLst>
              <a:gd name="adj1" fmla="val 19829"/>
              <a:gd name="adj2" fmla="val 17242"/>
              <a:gd name="adj3" fmla="val 25000"/>
              <a:gd name="adj4" fmla="val 87701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600" dirty="0" smtClean="0"/>
              <a:t>Efficient driving</a:t>
            </a:r>
            <a:endParaRPr lang="el-GR" sz="1600" dirty="0"/>
          </a:p>
        </p:txBody>
      </p:sp>
      <p:sp>
        <p:nvSpPr>
          <p:cNvPr id="34" name="Right Arrow Callout 33"/>
          <p:cNvSpPr/>
          <p:nvPr/>
        </p:nvSpPr>
        <p:spPr bwMode="auto">
          <a:xfrm>
            <a:off x="5715008" y="3789040"/>
            <a:ext cx="2500330" cy="357190"/>
          </a:xfrm>
          <a:prstGeom prst="rightArrowCallout">
            <a:avLst>
              <a:gd name="adj1" fmla="val 19829"/>
              <a:gd name="adj2" fmla="val 17242"/>
              <a:gd name="adj3" fmla="val 25000"/>
              <a:gd name="adj4" fmla="val 87701"/>
            </a:avLst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r>
              <a:rPr lang="en-US" sz="1600" dirty="0" smtClean="0"/>
              <a:t>Unit in operation</a:t>
            </a:r>
            <a:endParaRPr lang="el-GR" sz="1600" dirty="0"/>
          </a:p>
        </p:txBody>
      </p:sp>
      <p:sp>
        <p:nvSpPr>
          <p:cNvPr id="35" name="TextBox 34"/>
          <p:cNvSpPr txBox="1"/>
          <p:nvPr/>
        </p:nvSpPr>
        <p:spPr>
          <a:xfrm>
            <a:off x="7962163" y="1196752"/>
            <a:ext cx="10743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MAS</a:t>
            </a:r>
            <a:endParaRPr lang="el-GR" dirty="0"/>
          </a:p>
        </p:txBody>
      </p:sp>
      <p:sp>
        <p:nvSpPr>
          <p:cNvPr id="36" name="Rectangle 35"/>
          <p:cNvSpPr/>
          <p:nvPr/>
        </p:nvSpPr>
        <p:spPr>
          <a:xfrm>
            <a:off x="1761626" y="4258831"/>
            <a:ext cx="719505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el-GR" sz="1800" dirty="0" smtClean="0">
                <a:latin typeface="Calibri" panose="020F0502020204030204" pitchFamily="34" charset="0"/>
              </a:rPr>
              <a:t>  Η μονάδα καταγράφει όλα τα συμβάντα ασφάλειας</a:t>
            </a:r>
          </a:p>
          <a:p>
            <a:pPr>
              <a:buFont typeface="Wingdings" pitchFamily="2" charset="2"/>
              <a:buChar char="ü"/>
            </a:pPr>
            <a:r>
              <a:rPr lang="el-GR" sz="1800" dirty="0" smtClean="0">
                <a:latin typeface="Calibri" panose="020F0502020204030204" pitchFamily="34" charset="0"/>
              </a:rPr>
              <a:t>  Τα συμβάντα αυτά παρουσιάζονται και στην πλατφόρμα</a:t>
            </a:r>
          </a:p>
          <a:p>
            <a:pPr>
              <a:buFont typeface="Wingdings" pitchFamily="2" charset="2"/>
              <a:buChar char="ü"/>
            </a:pPr>
            <a:r>
              <a:rPr lang="el-GR" sz="1800" dirty="0" smtClean="0">
                <a:latin typeface="Calibri" panose="020F0502020204030204" pitchFamily="34" charset="0"/>
              </a:rPr>
              <a:t>  Ο οδηγός ενημερώνεται για τα </a:t>
            </a:r>
            <a:r>
              <a:rPr lang="el-GR" sz="1800" dirty="0">
                <a:latin typeface="Calibri" panose="020F0502020204030204" pitchFamily="34" charset="0"/>
              </a:rPr>
              <a:t>συμβάντα </a:t>
            </a:r>
            <a:r>
              <a:rPr lang="el-GR" sz="1800" dirty="0" err="1" smtClean="0">
                <a:latin typeface="Calibri" panose="020F0502020204030204" pitchFamily="34" charset="0"/>
              </a:rPr>
              <a:t>συμβάντα</a:t>
            </a:r>
            <a:r>
              <a:rPr lang="el-GR" sz="1800" dirty="0" smtClean="0">
                <a:latin typeface="Calibri" panose="020F0502020204030204" pitchFamily="34" charset="0"/>
              </a:rPr>
              <a:t> αυτά σε  </a:t>
            </a:r>
          </a:p>
          <a:p>
            <a:r>
              <a:rPr lang="el-GR" sz="1800" dirty="0" smtClean="0">
                <a:latin typeface="Calibri" panose="020F0502020204030204" pitchFamily="34" charset="0"/>
              </a:rPr>
              <a:t>     πραγματικό χρόνο από το </a:t>
            </a:r>
            <a:r>
              <a:rPr lang="en-US" sz="1800" dirty="0" smtClean="0">
                <a:latin typeface="Calibri" panose="020F0502020204030204" pitchFamily="34" charset="0"/>
              </a:rPr>
              <a:t>DMAS</a:t>
            </a:r>
            <a:endParaRPr lang="el-GR" sz="18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el-GR" sz="1800" dirty="0" smtClean="0">
                <a:latin typeface="Calibri" panose="020F0502020204030204" pitchFamily="34" charset="0"/>
              </a:rPr>
              <a:t>  Διαφορετική χρωματική κωδικοποίηση βάσει δριμύτητας συμβάντος</a:t>
            </a:r>
            <a:endParaRPr lang="el-GR" sz="18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el-GR" sz="1800" dirty="0" smtClean="0">
                <a:latin typeface="Calibri" panose="020F0502020204030204" pitchFamily="34" charset="0"/>
              </a:rPr>
              <a:t> Βαθμολόγηση οδηγού (με χρωματική κωδικοποίηση) στο τέλος κάθε δρομολογίου </a:t>
            </a:r>
            <a:endParaRPr lang="el-GR" sz="1800" dirty="0">
              <a:latin typeface="Calibri" panose="020F050202020403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14269" y="4745780"/>
            <a:ext cx="8552272" cy="122413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l-GR" sz="2800" dirty="0" smtClean="0">
                <a:latin typeface="Calibri" panose="020F0502020204030204" pitchFamily="34" charset="0"/>
              </a:rPr>
              <a:t>Ο οδηγός ενημερώνεται σε πραγματικό χρόνο για κάθε συμβάν μη ασφαλούς οδήγησης</a:t>
            </a:r>
            <a:endParaRPr lang="he-IL" sz="28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28600"/>
            <a:ext cx="8784975" cy="990600"/>
          </a:xfrm>
        </p:spPr>
        <p:txBody>
          <a:bodyPr/>
          <a:lstStyle/>
          <a:p>
            <a:r>
              <a:rPr lang="el-GR" sz="3600" b="1" dirty="0" smtClean="0">
                <a:latin typeface="Calibri" panose="020F0502020204030204" pitchFamily="34" charset="0"/>
              </a:rPr>
              <a:t>Καταγραφή και αναπαράσταση ατυχήματος</a:t>
            </a:r>
            <a:endParaRPr lang="el-GR" sz="3600" b="1" dirty="0"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9060" y="1340768"/>
            <a:ext cx="2888146" cy="4358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rgbClr val="FC1B23"/>
              </a:buClr>
              <a:buSzPct val="80000"/>
              <a:buFont typeface="Wingdings" pitchFamily="2" charset="2"/>
              <a:buChar char="§"/>
            </a:pPr>
            <a:r>
              <a:rPr lang="el-GR" sz="1800" dirty="0">
                <a:latin typeface="Calibri" panose="020F0502020204030204" pitchFamily="34" charset="0"/>
                <a:ea typeface="+mn-ea"/>
              </a:rPr>
              <a:t>Μοναδικοί αλγόριθμοι που δημιουργήθηκαν  σε συνεργασία με ασφαλιστικές εταιρίες για </a:t>
            </a:r>
            <a:r>
              <a:rPr lang="en-US" sz="1800" dirty="0">
                <a:latin typeface="Calibri" panose="020F0502020204030204" pitchFamily="34" charset="0"/>
                <a:ea typeface="+mn-ea"/>
              </a:rPr>
              <a:t>FNOL (First Notice Of Loss)</a:t>
            </a:r>
          </a:p>
          <a:p>
            <a:pPr marL="342900" lvl="1" indent="-342900">
              <a:spcBef>
                <a:spcPct val="20000"/>
              </a:spcBef>
              <a:buClr>
                <a:srgbClr val="FC1B23"/>
              </a:buClr>
              <a:buSzPct val="80000"/>
              <a:buFont typeface="Wingdings" pitchFamily="2" charset="2"/>
              <a:buChar char="§"/>
            </a:pPr>
            <a:r>
              <a:rPr lang="el-GR" sz="1800" dirty="0">
                <a:latin typeface="Calibri" panose="020F0502020204030204" pitchFamily="34" charset="0"/>
                <a:ea typeface="+mn-ea"/>
              </a:rPr>
              <a:t>Σε πραγματικές δοκιμές επιτεύχθηκε 100% ανίχνευση ατυχημάτων και με σβηστή την μηχανή</a:t>
            </a:r>
          </a:p>
          <a:p>
            <a:pPr marL="342900" lvl="1" indent="-342900">
              <a:spcBef>
                <a:spcPct val="20000"/>
              </a:spcBef>
              <a:buClr>
                <a:srgbClr val="FC1B23"/>
              </a:buClr>
              <a:buSzPct val="80000"/>
              <a:buFont typeface="Wingdings" pitchFamily="2" charset="2"/>
              <a:buChar char="§"/>
            </a:pPr>
            <a:r>
              <a:rPr lang="el-GR" sz="1800" dirty="0">
                <a:latin typeface="Calibri" panose="020F0502020204030204" pitchFamily="34" charset="0"/>
                <a:ea typeface="+mn-ea"/>
              </a:rPr>
              <a:t>Καταγραφή δεδομένων με υψηλή συχνότητα ΠΡΙΝ και μετά την πρόσκρουση</a:t>
            </a:r>
            <a:endParaRPr lang="en-US" sz="1800" dirty="0"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287206" y="2032831"/>
            <a:ext cx="5588113" cy="280990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dist="63500" dir="8100000" algn="tr" rotWithShape="0">
              <a:schemeClr val="accent3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tx1"/>
              </a:solidFill>
              <a:latin typeface="Calibri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289" y="1268760"/>
            <a:ext cx="5367176" cy="3456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 descr="https://s-media-cache-ak0.pinimg.com/236x/10/1a/bf/101abff772a7a410dba758e03640f53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725144"/>
            <a:ext cx="2247900" cy="199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http://media.cmgdigital.com/shared/img/photos/2014/01/22/ce/eb/hiw-teaser-dumm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4833672"/>
            <a:ext cx="1833643" cy="1508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5735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12"/>
          <p:cNvSpPr txBox="1"/>
          <p:nvPr/>
        </p:nvSpPr>
        <p:spPr>
          <a:xfrm>
            <a:off x="888297" y="1892813"/>
            <a:ext cx="263974" cy="2469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397">
              <a:lnSpc>
                <a:spcPts val="1943"/>
              </a:lnSpc>
            </a:pPr>
            <a:r>
              <a:rPr sz="1400" b="1" dirty="0" smtClean="0">
                <a:solidFill>
                  <a:srgbClr val="FFC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sz="1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61679" y="260648"/>
            <a:ext cx="8384480" cy="95855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Απεικόνιση</a:t>
            </a:r>
            <a:r>
              <a:rPr kumimoji="0" lang="el-GR" altLang="el-GR" sz="3600" b="1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 τοποθεσίας του συμβάντος</a:t>
            </a:r>
            <a:endParaRPr kumimoji="0" lang="el-GR" altLang="el-GR" sz="3600" b="1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Tahoma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771" y="1288765"/>
            <a:ext cx="7767058" cy="4548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5590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22360" y="260648"/>
            <a:ext cx="8230722" cy="7920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Πρώτα</a:t>
            </a:r>
            <a:r>
              <a:rPr lang="el-GR" altLang="el-GR" sz="3600" b="1" kern="0" dirty="0" smtClean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ahoma" pitchFamily="34" charset="0"/>
              </a:rPr>
              <a:t> η Ασφάλεια </a:t>
            </a:r>
            <a:r>
              <a:rPr kumimoji="0" lang="en-US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– </a:t>
            </a:r>
            <a:r>
              <a:rPr lang="el-GR" altLang="el-GR" sz="3600" b="1" kern="0" dirty="0" smtClean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ahoma" pitchFamily="34" charset="0"/>
              </a:rPr>
              <a:t>Προφίλ</a:t>
            </a: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 Οδηγών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34" y="1340768"/>
            <a:ext cx="8820174" cy="4176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301718" y="4905164"/>
            <a:ext cx="8552272" cy="1224136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l-GR" dirty="0" smtClean="0">
                <a:latin typeface="Calibri" panose="020F0502020204030204" pitchFamily="34" charset="0"/>
              </a:rPr>
              <a:t>Το </a:t>
            </a:r>
            <a:r>
              <a:rPr lang="el-GR" dirty="0">
                <a:latin typeface="Calibri" panose="020F0502020204030204" pitchFamily="34" charset="0"/>
              </a:rPr>
              <a:t>Π</a:t>
            </a:r>
            <a:r>
              <a:rPr lang="el-GR" dirty="0" smtClean="0">
                <a:latin typeface="Calibri" panose="020F0502020204030204" pitchFamily="34" charset="0"/>
              </a:rPr>
              <a:t>ροφίλ Οδηγού δίνει στο Διαχειριστή Στόλου την εικόνα της ημερήσιας και εβδομαδιαίας τάσης στην ασφαλή οδηγική επίδοση των οδηγών</a:t>
            </a:r>
            <a:r>
              <a:rPr lang="en-US" dirty="0" smtClean="0">
                <a:latin typeface="Calibri" panose="020F0502020204030204" pitchFamily="34" charset="0"/>
              </a:rPr>
              <a:t> </a:t>
            </a:r>
            <a:endParaRPr lang="he-I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404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79" y="1340768"/>
            <a:ext cx="8800461" cy="4152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582216" y="5085184"/>
            <a:ext cx="8028384" cy="122413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l-GR" dirty="0" smtClean="0">
                <a:latin typeface="Calibri" panose="020F0502020204030204" pitchFamily="34" charset="0"/>
              </a:rPr>
              <a:t>Το Προφίλ Οδηγού προσφέρει εστιασμένες πληροφορίες για συγκεκριμένους οδηγούς και πολλαπλές επιλογές εμβάθυνσης σε αναλυτικά στοιχεία</a:t>
            </a:r>
            <a:endParaRPr lang="he-IL" dirty="0">
              <a:latin typeface="Calibri" panose="020F050202020403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22360" y="260648"/>
            <a:ext cx="8230722" cy="7920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Πρώτα</a:t>
            </a:r>
            <a:r>
              <a:rPr lang="el-GR" altLang="el-GR" sz="3600" b="1" kern="0" dirty="0" smtClean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ahoma" pitchFamily="34" charset="0"/>
              </a:rPr>
              <a:t> η Ασφάλεια </a:t>
            </a:r>
            <a:r>
              <a:rPr kumimoji="0" lang="en-US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– </a:t>
            </a:r>
            <a:r>
              <a:rPr lang="el-GR" altLang="el-GR" sz="3600" b="1" kern="0" dirty="0" smtClean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Tahoma" pitchFamily="34" charset="0"/>
              </a:rPr>
              <a:t>Προφίλ</a:t>
            </a: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 Οδηγών</a:t>
            </a:r>
          </a:p>
        </p:txBody>
      </p:sp>
    </p:spTree>
    <p:extLst>
      <p:ext uri="{BB962C8B-B14F-4D97-AF65-F5344CB8AC3E}">
        <p14:creationId xmlns:p14="http://schemas.microsoft.com/office/powerpoint/2010/main" val="1098262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508000" y="22176"/>
            <a:ext cx="8102600" cy="95855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Tahoma" pitchFamily="34" charset="0"/>
              </a:rPr>
              <a:t>Παραγωγικότητα και εργαλεία Βελτιστοποίησης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1412776"/>
            <a:ext cx="8421613" cy="453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313282" y="4437112"/>
            <a:ext cx="4042694" cy="1728192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l-GR" dirty="0" smtClean="0">
                <a:latin typeface="Calibri" panose="020F0502020204030204" pitchFamily="34" charset="0"/>
              </a:rPr>
              <a:t>Το διάγραμμα </a:t>
            </a:r>
            <a:r>
              <a:rPr lang="en-US" dirty="0" smtClean="0">
                <a:latin typeface="Calibri" panose="020F0502020204030204" pitchFamily="34" charset="0"/>
              </a:rPr>
              <a:t>Gantt </a:t>
            </a:r>
            <a:r>
              <a:rPr lang="el-GR" dirty="0" smtClean="0">
                <a:latin typeface="Calibri" panose="020F0502020204030204" pitchFamily="34" charset="0"/>
              </a:rPr>
              <a:t>προσφέρει μια ωριαία γραφική απεικόνιση των δρομολογίων</a:t>
            </a:r>
            <a:endParaRPr lang="he-I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215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 smtClean="0">
                <a:latin typeface="Calibri" panose="020F0502020204030204" pitchFamily="34" charset="0"/>
              </a:rPr>
              <a:t>CAN BUS – </a:t>
            </a:r>
            <a:r>
              <a:rPr lang="el-GR" sz="3600" b="1" dirty="0" smtClean="0">
                <a:latin typeface="Calibri" panose="020F0502020204030204" pitchFamily="34" charset="0"/>
              </a:rPr>
              <a:t>Ο εγκέφαλος του οχήματος</a:t>
            </a:r>
            <a:endParaRPr lang="el-GR" b="1" dirty="0">
              <a:latin typeface="Calibri" panose="020F050202020403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45" y="1268760"/>
            <a:ext cx="7231063" cy="502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2520" y="1412776"/>
            <a:ext cx="1688987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732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8787" y="2575918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41987" y="2575918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25187" y="2575918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708388" y="2575918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8787" y="4113232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41987" y="4113232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25187" y="4113232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08388" y="4113232"/>
            <a:ext cx="1980000" cy="1404000"/>
          </a:xfrm>
          <a:prstGeom prst="rect">
            <a:avLst/>
          </a:prstGeom>
          <a:solidFill>
            <a:schemeClr val="tx1">
              <a:lumMod val="85000"/>
              <a:lumOff val="15000"/>
              <a:alpha val="78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775386" y="2852152"/>
            <a:ext cx="1346801" cy="463090"/>
            <a:chOff x="2228850" y="-792163"/>
            <a:chExt cx="1057275" cy="363538"/>
          </a:xfrm>
          <a:solidFill>
            <a:schemeClr val="accent1"/>
          </a:solidFill>
        </p:grpSpPr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2790825" y="-792163"/>
              <a:ext cx="495300" cy="363538"/>
            </a:xfrm>
            <a:custGeom>
              <a:avLst/>
              <a:gdLst>
                <a:gd name="T0" fmla="*/ 959 w 959"/>
                <a:gd name="T1" fmla="*/ 575 h 704"/>
                <a:gd name="T2" fmla="*/ 657 w 959"/>
                <a:gd name="T3" fmla="*/ 574 h 704"/>
                <a:gd name="T4" fmla="*/ 638 w 959"/>
                <a:gd name="T5" fmla="*/ 593 h 704"/>
                <a:gd name="T6" fmla="*/ 638 w 959"/>
                <a:gd name="T7" fmla="*/ 637 h 704"/>
                <a:gd name="T8" fmla="*/ 575 w 959"/>
                <a:gd name="T9" fmla="*/ 702 h 704"/>
                <a:gd name="T10" fmla="*/ 455 w 959"/>
                <a:gd name="T11" fmla="*/ 701 h 704"/>
                <a:gd name="T12" fmla="*/ 406 w 959"/>
                <a:gd name="T13" fmla="*/ 678 h 704"/>
                <a:gd name="T14" fmla="*/ 320 w 959"/>
                <a:gd name="T15" fmla="*/ 592 h 704"/>
                <a:gd name="T16" fmla="*/ 276 w 959"/>
                <a:gd name="T17" fmla="*/ 574 h 704"/>
                <a:gd name="T18" fmla="*/ 76 w 959"/>
                <a:gd name="T19" fmla="*/ 574 h 704"/>
                <a:gd name="T20" fmla="*/ 0 w 959"/>
                <a:gd name="T21" fmla="*/ 498 h 704"/>
                <a:gd name="T22" fmla="*/ 0 w 959"/>
                <a:gd name="T23" fmla="*/ 204 h 704"/>
                <a:gd name="T24" fmla="*/ 76 w 959"/>
                <a:gd name="T25" fmla="*/ 128 h 704"/>
                <a:gd name="T26" fmla="*/ 268 w 959"/>
                <a:gd name="T27" fmla="*/ 128 h 704"/>
                <a:gd name="T28" fmla="*/ 325 w 959"/>
                <a:gd name="T29" fmla="*/ 104 h 704"/>
                <a:gd name="T30" fmla="*/ 404 w 959"/>
                <a:gd name="T31" fmla="*/ 25 h 704"/>
                <a:gd name="T32" fmla="*/ 463 w 959"/>
                <a:gd name="T33" fmla="*/ 0 h 704"/>
                <a:gd name="T34" fmla="*/ 569 w 959"/>
                <a:gd name="T35" fmla="*/ 0 h 704"/>
                <a:gd name="T36" fmla="*/ 638 w 959"/>
                <a:gd name="T37" fmla="*/ 69 h 704"/>
                <a:gd name="T38" fmla="*/ 638 w 959"/>
                <a:gd name="T39" fmla="*/ 103 h 704"/>
                <a:gd name="T40" fmla="*/ 663 w 959"/>
                <a:gd name="T41" fmla="*/ 128 h 704"/>
                <a:gd name="T42" fmla="*/ 899 w 959"/>
                <a:gd name="T43" fmla="*/ 128 h 704"/>
                <a:gd name="T44" fmla="*/ 959 w 959"/>
                <a:gd name="T45" fmla="*/ 127 h 704"/>
                <a:gd name="T46" fmla="*/ 959 w 959"/>
                <a:gd name="T47" fmla="*/ 575 h 704"/>
                <a:gd name="T48" fmla="*/ 576 w 959"/>
                <a:gd name="T49" fmla="*/ 351 h 704"/>
                <a:gd name="T50" fmla="*/ 576 w 959"/>
                <a:gd name="T51" fmla="*/ 156 h 704"/>
                <a:gd name="T52" fmla="*/ 543 w 959"/>
                <a:gd name="T53" fmla="*/ 126 h 704"/>
                <a:gd name="T54" fmla="*/ 510 w 959"/>
                <a:gd name="T55" fmla="*/ 155 h 704"/>
                <a:gd name="T56" fmla="*/ 510 w 959"/>
                <a:gd name="T57" fmla="*/ 547 h 704"/>
                <a:gd name="T58" fmla="*/ 543 w 959"/>
                <a:gd name="T59" fmla="*/ 576 h 704"/>
                <a:gd name="T60" fmla="*/ 576 w 959"/>
                <a:gd name="T61" fmla="*/ 547 h 704"/>
                <a:gd name="T62" fmla="*/ 576 w 959"/>
                <a:gd name="T63" fmla="*/ 351 h 704"/>
                <a:gd name="T64" fmla="*/ 126 w 959"/>
                <a:gd name="T65" fmla="*/ 350 h 704"/>
                <a:gd name="T66" fmla="*/ 126 w 959"/>
                <a:gd name="T67" fmla="*/ 426 h 704"/>
                <a:gd name="T68" fmla="*/ 147 w 959"/>
                <a:gd name="T69" fmla="*/ 448 h 704"/>
                <a:gd name="T70" fmla="*/ 235 w 959"/>
                <a:gd name="T71" fmla="*/ 448 h 704"/>
                <a:gd name="T72" fmla="*/ 256 w 959"/>
                <a:gd name="T73" fmla="*/ 427 h 704"/>
                <a:gd name="T74" fmla="*/ 256 w 959"/>
                <a:gd name="T75" fmla="*/ 276 h 704"/>
                <a:gd name="T76" fmla="*/ 234 w 959"/>
                <a:gd name="T77" fmla="*/ 254 h 704"/>
                <a:gd name="T78" fmla="*/ 148 w 959"/>
                <a:gd name="T79" fmla="*/ 254 h 704"/>
                <a:gd name="T80" fmla="*/ 126 w 959"/>
                <a:gd name="T81" fmla="*/ 276 h 704"/>
                <a:gd name="T82" fmla="*/ 126 w 959"/>
                <a:gd name="T83" fmla="*/ 35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9" h="704">
                  <a:moveTo>
                    <a:pt x="959" y="575"/>
                  </a:moveTo>
                  <a:cubicBezTo>
                    <a:pt x="858" y="575"/>
                    <a:pt x="758" y="575"/>
                    <a:pt x="657" y="574"/>
                  </a:cubicBezTo>
                  <a:cubicBezTo>
                    <a:pt x="643" y="574"/>
                    <a:pt x="638" y="580"/>
                    <a:pt x="638" y="593"/>
                  </a:cubicBezTo>
                  <a:cubicBezTo>
                    <a:pt x="639" y="608"/>
                    <a:pt x="639" y="623"/>
                    <a:pt x="638" y="637"/>
                  </a:cubicBezTo>
                  <a:cubicBezTo>
                    <a:pt x="636" y="675"/>
                    <a:pt x="612" y="701"/>
                    <a:pt x="575" y="702"/>
                  </a:cubicBezTo>
                  <a:cubicBezTo>
                    <a:pt x="535" y="703"/>
                    <a:pt x="495" y="704"/>
                    <a:pt x="455" y="701"/>
                  </a:cubicBezTo>
                  <a:cubicBezTo>
                    <a:pt x="438" y="700"/>
                    <a:pt x="419" y="690"/>
                    <a:pt x="406" y="678"/>
                  </a:cubicBezTo>
                  <a:cubicBezTo>
                    <a:pt x="376" y="651"/>
                    <a:pt x="348" y="622"/>
                    <a:pt x="320" y="592"/>
                  </a:cubicBezTo>
                  <a:cubicBezTo>
                    <a:pt x="307" y="579"/>
                    <a:pt x="294" y="574"/>
                    <a:pt x="276" y="574"/>
                  </a:cubicBezTo>
                  <a:cubicBezTo>
                    <a:pt x="209" y="575"/>
                    <a:pt x="142" y="574"/>
                    <a:pt x="76" y="574"/>
                  </a:cubicBezTo>
                  <a:cubicBezTo>
                    <a:pt x="24" y="574"/>
                    <a:pt x="0" y="550"/>
                    <a:pt x="0" y="498"/>
                  </a:cubicBezTo>
                  <a:cubicBezTo>
                    <a:pt x="0" y="400"/>
                    <a:pt x="0" y="302"/>
                    <a:pt x="0" y="204"/>
                  </a:cubicBezTo>
                  <a:cubicBezTo>
                    <a:pt x="0" y="152"/>
                    <a:pt x="24" y="128"/>
                    <a:pt x="76" y="128"/>
                  </a:cubicBezTo>
                  <a:cubicBezTo>
                    <a:pt x="140" y="128"/>
                    <a:pt x="204" y="127"/>
                    <a:pt x="268" y="128"/>
                  </a:cubicBezTo>
                  <a:cubicBezTo>
                    <a:pt x="292" y="129"/>
                    <a:pt x="309" y="122"/>
                    <a:pt x="325" y="104"/>
                  </a:cubicBezTo>
                  <a:cubicBezTo>
                    <a:pt x="351" y="77"/>
                    <a:pt x="378" y="51"/>
                    <a:pt x="404" y="25"/>
                  </a:cubicBezTo>
                  <a:cubicBezTo>
                    <a:pt x="420" y="8"/>
                    <a:pt x="440" y="0"/>
                    <a:pt x="463" y="0"/>
                  </a:cubicBezTo>
                  <a:cubicBezTo>
                    <a:pt x="498" y="0"/>
                    <a:pt x="534" y="0"/>
                    <a:pt x="569" y="0"/>
                  </a:cubicBezTo>
                  <a:cubicBezTo>
                    <a:pt x="612" y="1"/>
                    <a:pt x="637" y="26"/>
                    <a:pt x="638" y="69"/>
                  </a:cubicBezTo>
                  <a:cubicBezTo>
                    <a:pt x="638" y="80"/>
                    <a:pt x="639" y="91"/>
                    <a:pt x="638" y="103"/>
                  </a:cubicBezTo>
                  <a:cubicBezTo>
                    <a:pt x="636" y="122"/>
                    <a:pt x="644" y="128"/>
                    <a:pt x="663" y="128"/>
                  </a:cubicBezTo>
                  <a:cubicBezTo>
                    <a:pt x="742" y="127"/>
                    <a:pt x="821" y="128"/>
                    <a:pt x="899" y="128"/>
                  </a:cubicBezTo>
                  <a:cubicBezTo>
                    <a:pt x="919" y="128"/>
                    <a:pt x="939" y="127"/>
                    <a:pt x="959" y="127"/>
                  </a:cubicBezTo>
                  <a:cubicBezTo>
                    <a:pt x="959" y="276"/>
                    <a:pt x="959" y="426"/>
                    <a:pt x="959" y="575"/>
                  </a:cubicBezTo>
                  <a:close/>
                  <a:moveTo>
                    <a:pt x="576" y="351"/>
                  </a:moveTo>
                  <a:cubicBezTo>
                    <a:pt x="576" y="286"/>
                    <a:pt x="576" y="221"/>
                    <a:pt x="576" y="156"/>
                  </a:cubicBezTo>
                  <a:cubicBezTo>
                    <a:pt x="576" y="129"/>
                    <a:pt x="573" y="126"/>
                    <a:pt x="543" y="126"/>
                  </a:cubicBezTo>
                  <a:cubicBezTo>
                    <a:pt x="513" y="126"/>
                    <a:pt x="510" y="128"/>
                    <a:pt x="510" y="155"/>
                  </a:cubicBezTo>
                  <a:cubicBezTo>
                    <a:pt x="510" y="285"/>
                    <a:pt x="510" y="416"/>
                    <a:pt x="510" y="547"/>
                  </a:cubicBezTo>
                  <a:cubicBezTo>
                    <a:pt x="510" y="574"/>
                    <a:pt x="513" y="576"/>
                    <a:pt x="543" y="576"/>
                  </a:cubicBezTo>
                  <a:cubicBezTo>
                    <a:pt x="573" y="576"/>
                    <a:pt x="576" y="574"/>
                    <a:pt x="576" y="547"/>
                  </a:cubicBezTo>
                  <a:cubicBezTo>
                    <a:pt x="576" y="482"/>
                    <a:pt x="576" y="417"/>
                    <a:pt x="576" y="351"/>
                  </a:cubicBezTo>
                  <a:close/>
                  <a:moveTo>
                    <a:pt x="126" y="350"/>
                  </a:moveTo>
                  <a:cubicBezTo>
                    <a:pt x="126" y="375"/>
                    <a:pt x="127" y="400"/>
                    <a:pt x="126" y="426"/>
                  </a:cubicBezTo>
                  <a:cubicBezTo>
                    <a:pt x="126" y="440"/>
                    <a:pt x="132" y="448"/>
                    <a:pt x="147" y="448"/>
                  </a:cubicBezTo>
                  <a:cubicBezTo>
                    <a:pt x="177" y="448"/>
                    <a:pt x="206" y="448"/>
                    <a:pt x="235" y="448"/>
                  </a:cubicBezTo>
                  <a:cubicBezTo>
                    <a:pt x="249" y="448"/>
                    <a:pt x="256" y="441"/>
                    <a:pt x="256" y="427"/>
                  </a:cubicBezTo>
                  <a:cubicBezTo>
                    <a:pt x="256" y="377"/>
                    <a:pt x="256" y="326"/>
                    <a:pt x="256" y="276"/>
                  </a:cubicBezTo>
                  <a:cubicBezTo>
                    <a:pt x="256" y="260"/>
                    <a:pt x="249" y="254"/>
                    <a:pt x="234" y="254"/>
                  </a:cubicBezTo>
                  <a:cubicBezTo>
                    <a:pt x="205" y="255"/>
                    <a:pt x="177" y="255"/>
                    <a:pt x="148" y="254"/>
                  </a:cubicBezTo>
                  <a:cubicBezTo>
                    <a:pt x="133" y="254"/>
                    <a:pt x="126" y="261"/>
                    <a:pt x="126" y="276"/>
                  </a:cubicBezTo>
                  <a:cubicBezTo>
                    <a:pt x="127" y="301"/>
                    <a:pt x="126" y="325"/>
                    <a:pt x="126" y="3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2228850" y="-727076"/>
              <a:ext cx="165100" cy="231775"/>
            </a:xfrm>
            <a:custGeom>
              <a:avLst/>
              <a:gdLst>
                <a:gd name="T0" fmla="*/ 0 w 319"/>
                <a:gd name="T1" fmla="*/ 0 h 448"/>
                <a:gd name="T2" fmla="*/ 290 w 319"/>
                <a:gd name="T3" fmla="*/ 1 h 448"/>
                <a:gd name="T4" fmla="*/ 319 w 319"/>
                <a:gd name="T5" fmla="*/ 30 h 448"/>
                <a:gd name="T6" fmla="*/ 319 w 319"/>
                <a:gd name="T7" fmla="*/ 420 h 448"/>
                <a:gd name="T8" fmla="*/ 292 w 319"/>
                <a:gd name="T9" fmla="*/ 447 h 448"/>
                <a:gd name="T10" fmla="*/ 0 w 319"/>
                <a:gd name="T11" fmla="*/ 448 h 448"/>
                <a:gd name="T12" fmla="*/ 0 w 319"/>
                <a:gd name="T13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9" h="448">
                  <a:moveTo>
                    <a:pt x="0" y="0"/>
                  </a:moveTo>
                  <a:cubicBezTo>
                    <a:pt x="97" y="0"/>
                    <a:pt x="193" y="1"/>
                    <a:pt x="290" y="1"/>
                  </a:cubicBezTo>
                  <a:cubicBezTo>
                    <a:pt x="319" y="1"/>
                    <a:pt x="319" y="2"/>
                    <a:pt x="319" y="30"/>
                  </a:cubicBezTo>
                  <a:cubicBezTo>
                    <a:pt x="319" y="160"/>
                    <a:pt x="319" y="290"/>
                    <a:pt x="319" y="420"/>
                  </a:cubicBezTo>
                  <a:cubicBezTo>
                    <a:pt x="319" y="446"/>
                    <a:pt x="318" y="447"/>
                    <a:pt x="292" y="447"/>
                  </a:cubicBezTo>
                  <a:cubicBezTo>
                    <a:pt x="195" y="448"/>
                    <a:pt x="97" y="448"/>
                    <a:pt x="0" y="448"/>
                  </a:cubicBezTo>
                  <a:cubicBezTo>
                    <a:pt x="0" y="299"/>
                    <a:pt x="0" y="149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 noEditPoints="1"/>
            </p:cNvSpPr>
            <p:nvPr/>
          </p:nvSpPr>
          <p:spPr bwMode="auto">
            <a:xfrm>
              <a:off x="2427288" y="-758826"/>
              <a:ext cx="296863" cy="295275"/>
            </a:xfrm>
            <a:custGeom>
              <a:avLst/>
              <a:gdLst>
                <a:gd name="T0" fmla="*/ 287 w 574"/>
                <a:gd name="T1" fmla="*/ 574 h 574"/>
                <a:gd name="T2" fmla="*/ 75 w 574"/>
                <a:gd name="T3" fmla="*/ 574 h 574"/>
                <a:gd name="T4" fmla="*/ 0 w 574"/>
                <a:gd name="T5" fmla="*/ 499 h 574"/>
                <a:gd name="T6" fmla="*/ 0 w 574"/>
                <a:gd name="T7" fmla="*/ 74 h 574"/>
                <a:gd name="T8" fmla="*/ 74 w 574"/>
                <a:gd name="T9" fmla="*/ 0 h 574"/>
                <a:gd name="T10" fmla="*/ 500 w 574"/>
                <a:gd name="T11" fmla="*/ 0 h 574"/>
                <a:gd name="T12" fmla="*/ 574 w 574"/>
                <a:gd name="T13" fmla="*/ 74 h 574"/>
                <a:gd name="T14" fmla="*/ 574 w 574"/>
                <a:gd name="T15" fmla="*/ 502 h 574"/>
                <a:gd name="T16" fmla="*/ 501 w 574"/>
                <a:gd name="T17" fmla="*/ 574 h 574"/>
                <a:gd name="T18" fmla="*/ 287 w 574"/>
                <a:gd name="T19" fmla="*/ 574 h 574"/>
                <a:gd name="T20" fmla="*/ 287 w 574"/>
                <a:gd name="T21" fmla="*/ 126 h 574"/>
                <a:gd name="T22" fmla="*/ 163 w 574"/>
                <a:gd name="T23" fmla="*/ 126 h 574"/>
                <a:gd name="T24" fmla="*/ 127 w 574"/>
                <a:gd name="T25" fmla="*/ 162 h 574"/>
                <a:gd name="T26" fmla="*/ 127 w 574"/>
                <a:gd name="T27" fmla="*/ 412 h 574"/>
                <a:gd name="T28" fmla="*/ 163 w 574"/>
                <a:gd name="T29" fmla="*/ 448 h 574"/>
                <a:gd name="T30" fmla="*/ 409 w 574"/>
                <a:gd name="T31" fmla="*/ 448 h 574"/>
                <a:gd name="T32" fmla="*/ 448 w 574"/>
                <a:gd name="T33" fmla="*/ 408 h 574"/>
                <a:gd name="T34" fmla="*/ 448 w 574"/>
                <a:gd name="T35" fmla="*/ 164 h 574"/>
                <a:gd name="T36" fmla="*/ 409 w 574"/>
                <a:gd name="T37" fmla="*/ 126 h 574"/>
                <a:gd name="T38" fmla="*/ 287 w 574"/>
                <a:gd name="T39" fmla="*/ 126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4" h="574">
                  <a:moveTo>
                    <a:pt x="287" y="574"/>
                  </a:moveTo>
                  <a:cubicBezTo>
                    <a:pt x="216" y="574"/>
                    <a:pt x="146" y="574"/>
                    <a:pt x="75" y="574"/>
                  </a:cubicBezTo>
                  <a:cubicBezTo>
                    <a:pt x="24" y="574"/>
                    <a:pt x="0" y="550"/>
                    <a:pt x="0" y="499"/>
                  </a:cubicBezTo>
                  <a:cubicBezTo>
                    <a:pt x="0" y="358"/>
                    <a:pt x="0" y="216"/>
                    <a:pt x="0" y="74"/>
                  </a:cubicBezTo>
                  <a:cubicBezTo>
                    <a:pt x="0" y="25"/>
                    <a:pt x="25" y="0"/>
                    <a:pt x="74" y="0"/>
                  </a:cubicBezTo>
                  <a:cubicBezTo>
                    <a:pt x="216" y="0"/>
                    <a:pt x="358" y="0"/>
                    <a:pt x="500" y="0"/>
                  </a:cubicBezTo>
                  <a:cubicBezTo>
                    <a:pt x="549" y="0"/>
                    <a:pt x="574" y="25"/>
                    <a:pt x="574" y="74"/>
                  </a:cubicBezTo>
                  <a:cubicBezTo>
                    <a:pt x="574" y="216"/>
                    <a:pt x="574" y="359"/>
                    <a:pt x="574" y="502"/>
                  </a:cubicBezTo>
                  <a:cubicBezTo>
                    <a:pt x="574" y="549"/>
                    <a:pt x="549" y="574"/>
                    <a:pt x="501" y="574"/>
                  </a:cubicBezTo>
                  <a:cubicBezTo>
                    <a:pt x="430" y="574"/>
                    <a:pt x="358" y="574"/>
                    <a:pt x="287" y="574"/>
                  </a:cubicBezTo>
                  <a:close/>
                  <a:moveTo>
                    <a:pt x="287" y="126"/>
                  </a:moveTo>
                  <a:cubicBezTo>
                    <a:pt x="246" y="126"/>
                    <a:pt x="205" y="126"/>
                    <a:pt x="163" y="126"/>
                  </a:cubicBezTo>
                  <a:cubicBezTo>
                    <a:pt x="136" y="127"/>
                    <a:pt x="127" y="136"/>
                    <a:pt x="127" y="162"/>
                  </a:cubicBezTo>
                  <a:cubicBezTo>
                    <a:pt x="126" y="245"/>
                    <a:pt x="126" y="329"/>
                    <a:pt x="127" y="412"/>
                  </a:cubicBezTo>
                  <a:cubicBezTo>
                    <a:pt x="127" y="438"/>
                    <a:pt x="136" y="448"/>
                    <a:pt x="163" y="448"/>
                  </a:cubicBezTo>
                  <a:cubicBezTo>
                    <a:pt x="245" y="448"/>
                    <a:pt x="327" y="448"/>
                    <a:pt x="409" y="448"/>
                  </a:cubicBezTo>
                  <a:cubicBezTo>
                    <a:pt x="439" y="448"/>
                    <a:pt x="448" y="439"/>
                    <a:pt x="448" y="408"/>
                  </a:cubicBezTo>
                  <a:cubicBezTo>
                    <a:pt x="448" y="327"/>
                    <a:pt x="448" y="245"/>
                    <a:pt x="448" y="164"/>
                  </a:cubicBezTo>
                  <a:cubicBezTo>
                    <a:pt x="448" y="135"/>
                    <a:pt x="439" y="127"/>
                    <a:pt x="409" y="126"/>
                  </a:cubicBezTo>
                  <a:cubicBezTo>
                    <a:pt x="368" y="126"/>
                    <a:pt x="328" y="126"/>
                    <a:pt x="287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2527300" y="-660401"/>
              <a:ext cx="96838" cy="98425"/>
            </a:xfrm>
            <a:custGeom>
              <a:avLst/>
              <a:gdLst>
                <a:gd name="T0" fmla="*/ 94 w 190"/>
                <a:gd name="T1" fmla="*/ 190 h 191"/>
                <a:gd name="T2" fmla="*/ 22 w 190"/>
                <a:gd name="T3" fmla="*/ 190 h 191"/>
                <a:gd name="T4" fmla="*/ 0 w 190"/>
                <a:gd name="T5" fmla="*/ 168 h 191"/>
                <a:gd name="T6" fmla="*/ 0 w 190"/>
                <a:gd name="T7" fmla="*/ 22 h 191"/>
                <a:gd name="T8" fmla="*/ 24 w 190"/>
                <a:gd name="T9" fmla="*/ 0 h 191"/>
                <a:gd name="T10" fmla="*/ 167 w 190"/>
                <a:gd name="T11" fmla="*/ 0 h 191"/>
                <a:gd name="T12" fmla="*/ 190 w 190"/>
                <a:gd name="T13" fmla="*/ 23 h 191"/>
                <a:gd name="T14" fmla="*/ 190 w 190"/>
                <a:gd name="T15" fmla="*/ 167 h 191"/>
                <a:gd name="T16" fmla="*/ 166 w 190"/>
                <a:gd name="T17" fmla="*/ 190 h 191"/>
                <a:gd name="T18" fmla="*/ 94 w 190"/>
                <a:gd name="T19" fmla="*/ 19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91">
                  <a:moveTo>
                    <a:pt x="94" y="190"/>
                  </a:moveTo>
                  <a:cubicBezTo>
                    <a:pt x="70" y="190"/>
                    <a:pt x="46" y="190"/>
                    <a:pt x="22" y="190"/>
                  </a:cubicBezTo>
                  <a:cubicBezTo>
                    <a:pt x="7" y="190"/>
                    <a:pt x="0" y="183"/>
                    <a:pt x="0" y="168"/>
                  </a:cubicBezTo>
                  <a:cubicBezTo>
                    <a:pt x="0" y="120"/>
                    <a:pt x="0" y="71"/>
                    <a:pt x="0" y="22"/>
                  </a:cubicBezTo>
                  <a:cubicBezTo>
                    <a:pt x="0" y="6"/>
                    <a:pt x="8" y="0"/>
                    <a:pt x="24" y="0"/>
                  </a:cubicBezTo>
                  <a:cubicBezTo>
                    <a:pt x="72" y="0"/>
                    <a:pt x="119" y="0"/>
                    <a:pt x="167" y="0"/>
                  </a:cubicBezTo>
                  <a:cubicBezTo>
                    <a:pt x="183" y="0"/>
                    <a:pt x="190" y="7"/>
                    <a:pt x="190" y="23"/>
                  </a:cubicBezTo>
                  <a:cubicBezTo>
                    <a:pt x="190" y="71"/>
                    <a:pt x="190" y="119"/>
                    <a:pt x="190" y="167"/>
                  </a:cubicBezTo>
                  <a:cubicBezTo>
                    <a:pt x="190" y="184"/>
                    <a:pt x="182" y="191"/>
                    <a:pt x="166" y="190"/>
                  </a:cubicBezTo>
                  <a:cubicBezTo>
                    <a:pt x="142" y="190"/>
                    <a:pt x="118" y="190"/>
                    <a:pt x="94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197762" y="2683909"/>
            <a:ext cx="705121" cy="705121"/>
            <a:chOff x="2978644" y="3233539"/>
            <a:chExt cx="1106686" cy="1106686"/>
          </a:xfrm>
        </p:grpSpPr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3073272" y="3328082"/>
              <a:ext cx="917430" cy="917600"/>
            </a:xfrm>
            <a:custGeom>
              <a:avLst/>
              <a:gdLst>
                <a:gd name="T0" fmla="*/ 1142 w 2285"/>
                <a:gd name="T1" fmla="*/ 2 h 2285"/>
                <a:gd name="T2" fmla="*/ 2283 w 2285"/>
                <a:gd name="T3" fmla="*/ 1144 h 2285"/>
                <a:gd name="T4" fmla="*/ 1147 w 2285"/>
                <a:gd name="T5" fmla="*/ 2283 h 2285"/>
                <a:gd name="T6" fmla="*/ 2 w 2285"/>
                <a:gd name="T7" fmla="*/ 1144 h 2285"/>
                <a:gd name="T8" fmla="*/ 1142 w 2285"/>
                <a:gd name="T9" fmla="*/ 2 h 2285"/>
                <a:gd name="T10" fmla="*/ 1833 w 2285"/>
                <a:gd name="T11" fmla="*/ 1144 h 2285"/>
                <a:gd name="T12" fmla="*/ 1833 w 2285"/>
                <a:gd name="T13" fmla="*/ 634 h 2285"/>
                <a:gd name="T14" fmla="*/ 1830 w 2285"/>
                <a:gd name="T15" fmla="*/ 602 h 2285"/>
                <a:gd name="T16" fmla="*/ 1764 w 2285"/>
                <a:gd name="T17" fmla="*/ 539 h 2285"/>
                <a:gd name="T18" fmla="*/ 1683 w 2285"/>
                <a:gd name="T19" fmla="*/ 582 h 2285"/>
                <a:gd name="T20" fmla="*/ 1674 w 2285"/>
                <a:gd name="T21" fmla="*/ 628 h 2285"/>
                <a:gd name="T22" fmla="*/ 1674 w 2285"/>
                <a:gd name="T23" fmla="*/ 1042 h 2285"/>
                <a:gd name="T24" fmla="*/ 1653 w 2285"/>
                <a:gd name="T25" fmla="*/ 1064 h 2285"/>
                <a:gd name="T26" fmla="*/ 1445 w 2285"/>
                <a:gd name="T27" fmla="*/ 1064 h 2285"/>
                <a:gd name="T28" fmla="*/ 1423 w 2285"/>
                <a:gd name="T29" fmla="*/ 1043 h 2285"/>
                <a:gd name="T30" fmla="*/ 1424 w 2285"/>
                <a:gd name="T31" fmla="*/ 833 h 2285"/>
                <a:gd name="T32" fmla="*/ 1423 w 2285"/>
                <a:gd name="T33" fmla="*/ 615 h 2285"/>
                <a:gd name="T34" fmla="*/ 1345 w 2285"/>
                <a:gd name="T35" fmla="*/ 539 h 2285"/>
                <a:gd name="T36" fmla="*/ 1266 w 2285"/>
                <a:gd name="T37" fmla="*/ 617 h 2285"/>
                <a:gd name="T38" fmla="*/ 1266 w 2285"/>
                <a:gd name="T39" fmla="*/ 645 h 2285"/>
                <a:gd name="T40" fmla="*/ 1266 w 2285"/>
                <a:gd name="T41" fmla="*/ 1043 h 2285"/>
                <a:gd name="T42" fmla="*/ 1245 w 2285"/>
                <a:gd name="T43" fmla="*/ 1065 h 2285"/>
                <a:gd name="T44" fmla="*/ 1035 w 2285"/>
                <a:gd name="T45" fmla="*/ 1065 h 2285"/>
                <a:gd name="T46" fmla="*/ 1015 w 2285"/>
                <a:gd name="T47" fmla="*/ 1045 h 2285"/>
                <a:gd name="T48" fmla="*/ 1015 w 2285"/>
                <a:gd name="T49" fmla="*/ 969 h 2285"/>
                <a:gd name="T50" fmla="*/ 1015 w 2285"/>
                <a:gd name="T51" fmla="*/ 621 h 2285"/>
                <a:gd name="T52" fmla="*/ 970 w 2285"/>
                <a:gd name="T53" fmla="*/ 546 h 2285"/>
                <a:gd name="T54" fmla="*/ 858 w 2285"/>
                <a:gd name="T55" fmla="*/ 619 h 2285"/>
                <a:gd name="T56" fmla="*/ 858 w 2285"/>
                <a:gd name="T57" fmla="*/ 1019 h 2285"/>
                <a:gd name="T58" fmla="*/ 813 w 2285"/>
                <a:gd name="T59" fmla="*/ 1065 h 2285"/>
                <a:gd name="T60" fmla="*/ 637 w 2285"/>
                <a:gd name="T61" fmla="*/ 1065 h 2285"/>
                <a:gd name="T62" fmla="*/ 611 w 2285"/>
                <a:gd name="T63" fmla="*/ 1038 h 2285"/>
                <a:gd name="T64" fmla="*/ 611 w 2285"/>
                <a:gd name="T65" fmla="*/ 632 h 2285"/>
                <a:gd name="T66" fmla="*/ 602 w 2285"/>
                <a:gd name="T67" fmla="*/ 584 h 2285"/>
                <a:gd name="T68" fmla="*/ 515 w 2285"/>
                <a:gd name="T69" fmla="*/ 542 h 2285"/>
                <a:gd name="T70" fmla="*/ 453 w 2285"/>
                <a:gd name="T71" fmla="*/ 624 h 2285"/>
                <a:gd name="T72" fmla="*/ 453 w 2285"/>
                <a:gd name="T73" fmla="*/ 1132 h 2285"/>
                <a:gd name="T74" fmla="*/ 545 w 2285"/>
                <a:gd name="T75" fmla="*/ 1223 h 2285"/>
                <a:gd name="T76" fmla="*/ 831 w 2285"/>
                <a:gd name="T77" fmla="*/ 1222 h 2285"/>
                <a:gd name="T78" fmla="*/ 858 w 2285"/>
                <a:gd name="T79" fmla="*/ 1250 h 2285"/>
                <a:gd name="T80" fmla="*/ 858 w 2285"/>
                <a:gd name="T81" fmla="*/ 1260 h 2285"/>
                <a:gd name="T82" fmla="*/ 858 w 2285"/>
                <a:gd name="T83" fmla="*/ 1662 h 2285"/>
                <a:gd name="T84" fmla="*/ 894 w 2285"/>
                <a:gd name="T85" fmla="*/ 1734 h 2285"/>
                <a:gd name="T86" fmla="*/ 974 w 2285"/>
                <a:gd name="T87" fmla="*/ 1737 h 2285"/>
                <a:gd name="T88" fmla="*/ 1015 w 2285"/>
                <a:gd name="T89" fmla="*/ 1667 h 2285"/>
                <a:gd name="T90" fmla="*/ 1015 w 2285"/>
                <a:gd name="T91" fmla="*/ 1245 h 2285"/>
                <a:gd name="T92" fmla="*/ 1037 w 2285"/>
                <a:gd name="T93" fmla="*/ 1222 h 2285"/>
                <a:gd name="T94" fmla="*/ 1239 w 2285"/>
                <a:gd name="T95" fmla="*/ 1222 h 2285"/>
                <a:gd name="T96" fmla="*/ 1266 w 2285"/>
                <a:gd name="T97" fmla="*/ 1247 h 2285"/>
                <a:gd name="T98" fmla="*/ 1266 w 2285"/>
                <a:gd name="T99" fmla="*/ 1667 h 2285"/>
                <a:gd name="T100" fmla="*/ 1329 w 2285"/>
                <a:gd name="T101" fmla="*/ 1745 h 2285"/>
                <a:gd name="T102" fmla="*/ 1418 w 2285"/>
                <a:gd name="T103" fmla="*/ 1697 h 2285"/>
                <a:gd name="T104" fmla="*/ 1423 w 2285"/>
                <a:gd name="T105" fmla="*/ 1654 h 2285"/>
                <a:gd name="T106" fmla="*/ 1424 w 2285"/>
                <a:gd name="T107" fmla="*/ 1250 h 2285"/>
                <a:gd name="T108" fmla="*/ 1452 w 2285"/>
                <a:gd name="T109" fmla="*/ 1221 h 2285"/>
                <a:gd name="T110" fmla="*/ 1650 w 2285"/>
                <a:gd name="T111" fmla="*/ 1221 h 2285"/>
                <a:gd name="T112" fmla="*/ 1674 w 2285"/>
                <a:gd name="T113" fmla="*/ 1244 h 2285"/>
                <a:gd name="T114" fmla="*/ 1674 w 2285"/>
                <a:gd name="T115" fmla="*/ 1340 h 2285"/>
                <a:gd name="T116" fmla="*/ 1674 w 2285"/>
                <a:gd name="T117" fmla="*/ 1666 h 2285"/>
                <a:gd name="T118" fmla="*/ 1717 w 2285"/>
                <a:gd name="T119" fmla="*/ 1737 h 2285"/>
                <a:gd name="T120" fmla="*/ 1797 w 2285"/>
                <a:gd name="T121" fmla="*/ 1733 h 2285"/>
                <a:gd name="T122" fmla="*/ 1833 w 2285"/>
                <a:gd name="T123" fmla="*/ 1656 h 2285"/>
                <a:gd name="T124" fmla="*/ 1833 w 2285"/>
                <a:gd name="T125" fmla="*/ 1144 h 2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5" h="2285">
                  <a:moveTo>
                    <a:pt x="1142" y="2"/>
                  </a:moveTo>
                  <a:cubicBezTo>
                    <a:pt x="1771" y="0"/>
                    <a:pt x="2281" y="510"/>
                    <a:pt x="2283" y="1144"/>
                  </a:cubicBezTo>
                  <a:cubicBezTo>
                    <a:pt x="2285" y="1770"/>
                    <a:pt x="1776" y="2280"/>
                    <a:pt x="1147" y="2283"/>
                  </a:cubicBezTo>
                  <a:cubicBezTo>
                    <a:pt x="516" y="2285"/>
                    <a:pt x="4" y="1776"/>
                    <a:pt x="2" y="1144"/>
                  </a:cubicBezTo>
                  <a:cubicBezTo>
                    <a:pt x="0" y="515"/>
                    <a:pt x="510" y="4"/>
                    <a:pt x="1142" y="2"/>
                  </a:cubicBezTo>
                  <a:close/>
                  <a:moveTo>
                    <a:pt x="1833" y="1144"/>
                  </a:moveTo>
                  <a:cubicBezTo>
                    <a:pt x="1833" y="974"/>
                    <a:pt x="1833" y="804"/>
                    <a:pt x="1833" y="634"/>
                  </a:cubicBezTo>
                  <a:cubicBezTo>
                    <a:pt x="1833" y="623"/>
                    <a:pt x="1832" y="612"/>
                    <a:pt x="1830" y="602"/>
                  </a:cubicBezTo>
                  <a:cubicBezTo>
                    <a:pt x="1824" y="568"/>
                    <a:pt x="1798" y="543"/>
                    <a:pt x="1764" y="539"/>
                  </a:cubicBezTo>
                  <a:cubicBezTo>
                    <a:pt x="1730" y="535"/>
                    <a:pt x="1697" y="551"/>
                    <a:pt x="1683" y="582"/>
                  </a:cubicBezTo>
                  <a:cubicBezTo>
                    <a:pt x="1677" y="596"/>
                    <a:pt x="1674" y="613"/>
                    <a:pt x="1674" y="628"/>
                  </a:cubicBezTo>
                  <a:cubicBezTo>
                    <a:pt x="1674" y="766"/>
                    <a:pt x="1674" y="904"/>
                    <a:pt x="1674" y="1042"/>
                  </a:cubicBezTo>
                  <a:cubicBezTo>
                    <a:pt x="1674" y="1058"/>
                    <a:pt x="1670" y="1064"/>
                    <a:pt x="1653" y="1064"/>
                  </a:cubicBezTo>
                  <a:cubicBezTo>
                    <a:pt x="1584" y="1063"/>
                    <a:pt x="1515" y="1064"/>
                    <a:pt x="1445" y="1064"/>
                  </a:cubicBezTo>
                  <a:cubicBezTo>
                    <a:pt x="1429" y="1065"/>
                    <a:pt x="1423" y="1059"/>
                    <a:pt x="1423" y="1043"/>
                  </a:cubicBezTo>
                  <a:cubicBezTo>
                    <a:pt x="1424" y="973"/>
                    <a:pt x="1424" y="903"/>
                    <a:pt x="1424" y="833"/>
                  </a:cubicBezTo>
                  <a:cubicBezTo>
                    <a:pt x="1424" y="760"/>
                    <a:pt x="1425" y="687"/>
                    <a:pt x="1423" y="615"/>
                  </a:cubicBezTo>
                  <a:cubicBezTo>
                    <a:pt x="1422" y="570"/>
                    <a:pt x="1388" y="538"/>
                    <a:pt x="1345" y="539"/>
                  </a:cubicBezTo>
                  <a:cubicBezTo>
                    <a:pt x="1300" y="539"/>
                    <a:pt x="1267" y="572"/>
                    <a:pt x="1266" y="617"/>
                  </a:cubicBezTo>
                  <a:cubicBezTo>
                    <a:pt x="1266" y="627"/>
                    <a:pt x="1266" y="636"/>
                    <a:pt x="1266" y="645"/>
                  </a:cubicBezTo>
                  <a:cubicBezTo>
                    <a:pt x="1266" y="778"/>
                    <a:pt x="1266" y="911"/>
                    <a:pt x="1266" y="1043"/>
                  </a:cubicBezTo>
                  <a:cubicBezTo>
                    <a:pt x="1266" y="1060"/>
                    <a:pt x="1261" y="1065"/>
                    <a:pt x="1245" y="1065"/>
                  </a:cubicBezTo>
                  <a:cubicBezTo>
                    <a:pt x="1175" y="1064"/>
                    <a:pt x="1105" y="1064"/>
                    <a:pt x="1035" y="1065"/>
                  </a:cubicBezTo>
                  <a:cubicBezTo>
                    <a:pt x="1020" y="1065"/>
                    <a:pt x="1014" y="1060"/>
                    <a:pt x="1015" y="1045"/>
                  </a:cubicBezTo>
                  <a:cubicBezTo>
                    <a:pt x="1016" y="1020"/>
                    <a:pt x="1015" y="995"/>
                    <a:pt x="1015" y="969"/>
                  </a:cubicBezTo>
                  <a:cubicBezTo>
                    <a:pt x="1015" y="853"/>
                    <a:pt x="1015" y="737"/>
                    <a:pt x="1015" y="621"/>
                  </a:cubicBezTo>
                  <a:cubicBezTo>
                    <a:pt x="1015" y="586"/>
                    <a:pt x="1001" y="560"/>
                    <a:pt x="970" y="546"/>
                  </a:cubicBezTo>
                  <a:cubicBezTo>
                    <a:pt x="916" y="521"/>
                    <a:pt x="858" y="559"/>
                    <a:pt x="858" y="619"/>
                  </a:cubicBezTo>
                  <a:cubicBezTo>
                    <a:pt x="858" y="752"/>
                    <a:pt x="858" y="885"/>
                    <a:pt x="858" y="1019"/>
                  </a:cubicBezTo>
                  <a:cubicBezTo>
                    <a:pt x="858" y="1065"/>
                    <a:pt x="858" y="1065"/>
                    <a:pt x="813" y="1065"/>
                  </a:cubicBezTo>
                  <a:cubicBezTo>
                    <a:pt x="754" y="1065"/>
                    <a:pt x="696" y="1065"/>
                    <a:pt x="637" y="1065"/>
                  </a:cubicBezTo>
                  <a:cubicBezTo>
                    <a:pt x="611" y="1065"/>
                    <a:pt x="611" y="1065"/>
                    <a:pt x="611" y="1038"/>
                  </a:cubicBezTo>
                  <a:cubicBezTo>
                    <a:pt x="611" y="903"/>
                    <a:pt x="612" y="768"/>
                    <a:pt x="611" y="632"/>
                  </a:cubicBezTo>
                  <a:cubicBezTo>
                    <a:pt x="611" y="616"/>
                    <a:pt x="608" y="599"/>
                    <a:pt x="602" y="584"/>
                  </a:cubicBezTo>
                  <a:cubicBezTo>
                    <a:pt x="587" y="551"/>
                    <a:pt x="550" y="534"/>
                    <a:pt x="515" y="542"/>
                  </a:cubicBezTo>
                  <a:cubicBezTo>
                    <a:pt x="477" y="551"/>
                    <a:pt x="453" y="582"/>
                    <a:pt x="453" y="624"/>
                  </a:cubicBezTo>
                  <a:cubicBezTo>
                    <a:pt x="453" y="793"/>
                    <a:pt x="453" y="963"/>
                    <a:pt x="453" y="1132"/>
                  </a:cubicBezTo>
                  <a:cubicBezTo>
                    <a:pt x="453" y="1191"/>
                    <a:pt x="485" y="1223"/>
                    <a:pt x="545" y="1223"/>
                  </a:cubicBezTo>
                  <a:cubicBezTo>
                    <a:pt x="640" y="1222"/>
                    <a:pt x="736" y="1222"/>
                    <a:pt x="831" y="1222"/>
                  </a:cubicBezTo>
                  <a:cubicBezTo>
                    <a:pt x="858" y="1222"/>
                    <a:pt x="858" y="1222"/>
                    <a:pt x="858" y="1250"/>
                  </a:cubicBezTo>
                  <a:cubicBezTo>
                    <a:pt x="858" y="1254"/>
                    <a:pt x="858" y="1257"/>
                    <a:pt x="858" y="1260"/>
                  </a:cubicBezTo>
                  <a:cubicBezTo>
                    <a:pt x="858" y="1394"/>
                    <a:pt x="858" y="1528"/>
                    <a:pt x="858" y="1662"/>
                  </a:cubicBezTo>
                  <a:cubicBezTo>
                    <a:pt x="858" y="1693"/>
                    <a:pt x="868" y="1717"/>
                    <a:pt x="894" y="1734"/>
                  </a:cubicBezTo>
                  <a:cubicBezTo>
                    <a:pt x="919" y="1750"/>
                    <a:pt x="947" y="1751"/>
                    <a:pt x="974" y="1737"/>
                  </a:cubicBezTo>
                  <a:cubicBezTo>
                    <a:pt x="1001" y="1722"/>
                    <a:pt x="1015" y="1698"/>
                    <a:pt x="1015" y="1667"/>
                  </a:cubicBezTo>
                  <a:cubicBezTo>
                    <a:pt x="1015" y="1526"/>
                    <a:pt x="1015" y="1385"/>
                    <a:pt x="1015" y="1245"/>
                  </a:cubicBezTo>
                  <a:cubicBezTo>
                    <a:pt x="1015" y="1227"/>
                    <a:pt x="1020" y="1221"/>
                    <a:pt x="1037" y="1222"/>
                  </a:cubicBezTo>
                  <a:cubicBezTo>
                    <a:pt x="1105" y="1222"/>
                    <a:pt x="1172" y="1222"/>
                    <a:pt x="1239" y="1222"/>
                  </a:cubicBezTo>
                  <a:cubicBezTo>
                    <a:pt x="1266" y="1222"/>
                    <a:pt x="1266" y="1222"/>
                    <a:pt x="1266" y="1247"/>
                  </a:cubicBezTo>
                  <a:cubicBezTo>
                    <a:pt x="1266" y="1387"/>
                    <a:pt x="1266" y="1527"/>
                    <a:pt x="1266" y="1667"/>
                  </a:cubicBezTo>
                  <a:cubicBezTo>
                    <a:pt x="1266" y="1705"/>
                    <a:pt x="1294" y="1739"/>
                    <a:pt x="1329" y="1745"/>
                  </a:cubicBezTo>
                  <a:cubicBezTo>
                    <a:pt x="1368" y="1752"/>
                    <a:pt x="1404" y="1733"/>
                    <a:pt x="1418" y="1697"/>
                  </a:cubicBezTo>
                  <a:cubicBezTo>
                    <a:pt x="1422" y="1683"/>
                    <a:pt x="1423" y="1668"/>
                    <a:pt x="1423" y="1654"/>
                  </a:cubicBezTo>
                  <a:cubicBezTo>
                    <a:pt x="1424" y="1519"/>
                    <a:pt x="1424" y="1384"/>
                    <a:pt x="1424" y="1250"/>
                  </a:cubicBezTo>
                  <a:cubicBezTo>
                    <a:pt x="1424" y="1221"/>
                    <a:pt x="1423" y="1221"/>
                    <a:pt x="1452" y="1221"/>
                  </a:cubicBezTo>
                  <a:cubicBezTo>
                    <a:pt x="1518" y="1221"/>
                    <a:pt x="1584" y="1222"/>
                    <a:pt x="1650" y="1221"/>
                  </a:cubicBezTo>
                  <a:cubicBezTo>
                    <a:pt x="1668" y="1220"/>
                    <a:pt x="1675" y="1224"/>
                    <a:pt x="1674" y="1244"/>
                  </a:cubicBezTo>
                  <a:cubicBezTo>
                    <a:pt x="1673" y="1276"/>
                    <a:pt x="1674" y="1308"/>
                    <a:pt x="1674" y="1340"/>
                  </a:cubicBezTo>
                  <a:cubicBezTo>
                    <a:pt x="1674" y="1448"/>
                    <a:pt x="1674" y="1557"/>
                    <a:pt x="1674" y="1666"/>
                  </a:cubicBezTo>
                  <a:cubicBezTo>
                    <a:pt x="1674" y="1698"/>
                    <a:pt x="1688" y="1722"/>
                    <a:pt x="1717" y="1737"/>
                  </a:cubicBezTo>
                  <a:cubicBezTo>
                    <a:pt x="1744" y="1751"/>
                    <a:pt x="1771" y="1750"/>
                    <a:pt x="1797" y="1733"/>
                  </a:cubicBezTo>
                  <a:cubicBezTo>
                    <a:pt x="1825" y="1715"/>
                    <a:pt x="1833" y="1687"/>
                    <a:pt x="1833" y="1656"/>
                  </a:cubicBezTo>
                  <a:cubicBezTo>
                    <a:pt x="1833" y="1485"/>
                    <a:pt x="1833" y="1314"/>
                    <a:pt x="1833" y="1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Donut 18"/>
            <p:cNvSpPr/>
            <p:nvPr/>
          </p:nvSpPr>
          <p:spPr>
            <a:xfrm>
              <a:off x="2978644" y="3233539"/>
              <a:ext cx="1106686" cy="1106686"/>
            </a:xfrm>
            <a:prstGeom prst="donut">
              <a:avLst>
                <a:gd name="adj" fmla="val 6682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110819" y="2683909"/>
            <a:ext cx="1008735" cy="705121"/>
            <a:chOff x="3821113" y="-5605463"/>
            <a:chExt cx="5643563" cy="3944938"/>
          </a:xfrm>
          <a:solidFill>
            <a:schemeClr val="accent1"/>
          </a:solidFill>
        </p:grpSpPr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4665663" y="-5605463"/>
              <a:ext cx="3941763" cy="3944938"/>
            </a:xfrm>
            <a:custGeom>
              <a:avLst/>
              <a:gdLst>
                <a:gd name="T0" fmla="*/ 0 w 1051"/>
                <a:gd name="T1" fmla="*/ 525 h 1052"/>
                <a:gd name="T2" fmla="*/ 527 w 1051"/>
                <a:gd name="T3" fmla="*/ 1 h 1052"/>
                <a:gd name="T4" fmla="*/ 1050 w 1051"/>
                <a:gd name="T5" fmla="*/ 524 h 1052"/>
                <a:gd name="T6" fmla="*/ 518 w 1051"/>
                <a:gd name="T7" fmla="*/ 1051 h 1052"/>
                <a:gd name="T8" fmla="*/ 0 w 1051"/>
                <a:gd name="T9" fmla="*/ 525 h 1052"/>
                <a:gd name="T10" fmla="*/ 926 w 1051"/>
                <a:gd name="T11" fmla="*/ 528 h 1052"/>
                <a:gd name="T12" fmla="*/ 528 w 1051"/>
                <a:gd name="T13" fmla="*/ 125 h 1052"/>
                <a:gd name="T14" fmla="*/ 124 w 1051"/>
                <a:gd name="T15" fmla="*/ 524 h 1052"/>
                <a:gd name="T16" fmla="*/ 522 w 1051"/>
                <a:gd name="T17" fmla="*/ 927 h 1052"/>
                <a:gd name="T18" fmla="*/ 926 w 1051"/>
                <a:gd name="T19" fmla="*/ 528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1" h="1052">
                  <a:moveTo>
                    <a:pt x="0" y="525"/>
                  </a:moveTo>
                  <a:cubicBezTo>
                    <a:pt x="1" y="234"/>
                    <a:pt x="236" y="0"/>
                    <a:pt x="527" y="1"/>
                  </a:cubicBezTo>
                  <a:cubicBezTo>
                    <a:pt x="816" y="2"/>
                    <a:pt x="1051" y="237"/>
                    <a:pt x="1050" y="524"/>
                  </a:cubicBezTo>
                  <a:cubicBezTo>
                    <a:pt x="1049" y="820"/>
                    <a:pt x="815" y="1052"/>
                    <a:pt x="518" y="1051"/>
                  </a:cubicBezTo>
                  <a:cubicBezTo>
                    <a:pt x="233" y="1050"/>
                    <a:pt x="0" y="813"/>
                    <a:pt x="0" y="525"/>
                  </a:cubicBezTo>
                  <a:close/>
                  <a:moveTo>
                    <a:pt x="926" y="528"/>
                  </a:moveTo>
                  <a:cubicBezTo>
                    <a:pt x="927" y="306"/>
                    <a:pt x="750" y="127"/>
                    <a:pt x="528" y="125"/>
                  </a:cubicBezTo>
                  <a:cubicBezTo>
                    <a:pt x="305" y="123"/>
                    <a:pt x="125" y="301"/>
                    <a:pt x="124" y="524"/>
                  </a:cubicBezTo>
                  <a:cubicBezTo>
                    <a:pt x="123" y="746"/>
                    <a:pt x="300" y="926"/>
                    <a:pt x="522" y="927"/>
                  </a:cubicBezTo>
                  <a:cubicBezTo>
                    <a:pt x="745" y="928"/>
                    <a:pt x="925" y="751"/>
                    <a:pt x="926" y="5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8351838" y="-5526088"/>
              <a:ext cx="1112838" cy="3786188"/>
            </a:xfrm>
            <a:custGeom>
              <a:avLst/>
              <a:gdLst>
                <a:gd name="T0" fmla="*/ 90 w 297"/>
                <a:gd name="T1" fmla="*/ 1010 h 1010"/>
                <a:gd name="T2" fmla="*/ 0 w 297"/>
                <a:gd name="T3" fmla="*/ 926 h 1010"/>
                <a:gd name="T4" fmla="*/ 163 w 297"/>
                <a:gd name="T5" fmla="*/ 505 h 1010"/>
                <a:gd name="T6" fmla="*/ 0 w 297"/>
                <a:gd name="T7" fmla="*/ 84 h 1010"/>
                <a:gd name="T8" fmla="*/ 90 w 297"/>
                <a:gd name="T9" fmla="*/ 0 h 1010"/>
                <a:gd name="T10" fmla="*/ 285 w 297"/>
                <a:gd name="T11" fmla="*/ 458 h 1010"/>
                <a:gd name="T12" fmla="*/ 90 w 297"/>
                <a:gd name="T13" fmla="*/ 101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7" h="1010">
                  <a:moveTo>
                    <a:pt x="90" y="1010"/>
                  </a:moveTo>
                  <a:cubicBezTo>
                    <a:pt x="59" y="980"/>
                    <a:pt x="30" y="954"/>
                    <a:pt x="0" y="926"/>
                  </a:cubicBezTo>
                  <a:cubicBezTo>
                    <a:pt x="106" y="804"/>
                    <a:pt x="163" y="665"/>
                    <a:pt x="163" y="505"/>
                  </a:cubicBezTo>
                  <a:cubicBezTo>
                    <a:pt x="163" y="345"/>
                    <a:pt x="106" y="206"/>
                    <a:pt x="0" y="84"/>
                  </a:cubicBezTo>
                  <a:cubicBezTo>
                    <a:pt x="30" y="56"/>
                    <a:pt x="59" y="29"/>
                    <a:pt x="90" y="0"/>
                  </a:cubicBezTo>
                  <a:cubicBezTo>
                    <a:pt x="209" y="132"/>
                    <a:pt x="275" y="284"/>
                    <a:pt x="285" y="458"/>
                  </a:cubicBezTo>
                  <a:cubicBezTo>
                    <a:pt x="297" y="667"/>
                    <a:pt x="232" y="849"/>
                    <a:pt x="90" y="10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821113" y="-5522913"/>
              <a:ext cx="1084263" cy="3783013"/>
            </a:xfrm>
            <a:custGeom>
              <a:avLst/>
              <a:gdLst>
                <a:gd name="T0" fmla="*/ 201 w 289"/>
                <a:gd name="T1" fmla="*/ 0 h 1009"/>
                <a:gd name="T2" fmla="*/ 224 w 289"/>
                <a:gd name="T3" fmla="*/ 20 h 1009"/>
                <a:gd name="T4" fmla="*/ 289 w 289"/>
                <a:gd name="T5" fmla="*/ 80 h 1009"/>
                <a:gd name="T6" fmla="*/ 289 w 289"/>
                <a:gd name="T7" fmla="*/ 928 h 1009"/>
                <a:gd name="T8" fmla="*/ 202 w 289"/>
                <a:gd name="T9" fmla="*/ 1009 h 1009"/>
                <a:gd name="T10" fmla="*/ 6 w 289"/>
                <a:gd name="T11" fmla="*/ 526 h 1009"/>
                <a:gd name="T12" fmla="*/ 201 w 289"/>
                <a:gd name="T13" fmla="*/ 0 h 10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9" h="1009">
                  <a:moveTo>
                    <a:pt x="201" y="0"/>
                  </a:moveTo>
                  <a:cubicBezTo>
                    <a:pt x="211" y="8"/>
                    <a:pt x="218" y="14"/>
                    <a:pt x="224" y="20"/>
                  </a:cubicBezTo>
                  <a:cubicBezTo>
                    <a:pt x="246" y="40"/>
                    <a:pt x="268" y="60"/>
                    <a:pt x="289" y="80"/>
                  </a:cubicBezTo>
                  <a:cubicBezTo>
                    <a:pt x="74" y="363"/>
                    <a:pt x="73" y="643"/>
                    <a:pt x="289" y="928"/>
                  </a:cubicBezTo>
                  <a:cubicBezTo>
                    <a:pt x="262" y="953"/>
                    <a:pt x="233" y="980"/>
                    <a:pt x="202" y="1009"/>
                  </a:cubicBezTo>
                  <a:cubicBezTo>
                    <a:pt x="78" y="869"/>
                    <a:pt x="11" y="710"/>
                    <a:pt x="6" y="526"/>
                  </a:cubicBezTo>
                  <a:cubicBezTo>
                    <a:pt x="0" y="326"/>
                    <a:pt x="67" y="152"/>
                    <a:pt x="2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6413501" y="-4116388"/>
              <a:ext cx="760413" cy="1023938"/>
            </a:xfrm>
            <a:custGeom>
              <a:avLst/>
              <a:gdLst>
                <a:gd name="T0" fmla="*/ 0 w 203"/>
                <a:gd name="T1" fmla="*/ 11 h 273"/>
                <a:gd name="T2" fmla="*/ 133 w 203"/>
                <a:gd name="T3" fmla="*/ 12 h 273"/>
                <a:gd name="T4" fmla="*/ 180 w 203"/>
                <a:gd name="T5" fmla="*/ 61 h 273"/>
                <a:gd name="T6" fmla="*/ 150 w 203"/>
                <a:gd name="T7" fmla="*/ 122 h 273"/>
                <a:gd name="T8" fmla="*/ 145 w 203"/>
                <a:gd name="T9" fmla="*/ 127 h 273"/>
                <a:gd name="T10" fmla="*/ 155 w 203"/>
                <a:gd name="T11" fmla="*/ 133 h 273"/>
                <a:gd name="T12" fmla="*/ 153 w 203"/>
                <a:gd name="T13" fmla="*/ 252 h 273"/>
                <a:gd name="T14" fmla="*/ 104 w 203"/>
                <a:gd name="T15" fmla="*/ 267 h 273"/>
                <a:gd name="T16" fmla="*/ 0 w 203"/>
                <a:gd name="T17" fmla="*/ 264 h 273"/>
                <a:gd name="T18" fmla="*/ 0 w 203"/>
                <a:gd name="T19" fmla="*/ 11 h 273"/>
                <a:gd name="T20" fmla="*/ 59 w 203"/>
                <a:gd name="T21" fmla="*/ 221 h 273"/>
                <a:gd name="T22" fmla="*/ 120 w 203"/>
                <a:gd name="T23" fmla="*/ 209 h 273"/>
                <a:gd name="T24" fmla="*/ 120 w 203"/>
                <a:gd name="T25" fmla="*/ 170 h 273"/>
                <a:gd name="T26" fmla="*/ 59 w 203"/>
                <a:gd name="T27" fmla="*/ 157 h 273"/>
                <a:gd name="T28" fmla="*/ 59 w 203"/>
                <a:gd name="T29" fmla="*/ 221 h 273"/>
                <a:gd name="T30" fmla="*/ 58 w 203"/>
                <a:gd name="T31" fmla="*/ 107 h 273"/>
                <a:gd name="T32" fmla="*/ 115 w 203"/>
                <a:gd name="T33" fmla="*/ 94 h 273"/>
                <a:gd name="T34" fmla="*/ 116 w 203"/>
                <a:gd name="T35" fmla="*/ 63 h 273"/>
                <a:gd name="T36" fmla="*/ 58 w 203"/>
                <a:gd name="T37" fmla="*/ 51 h 273"/>
                <a:gd name="T38" fmla="*/ 58 w 203"/>
                <a:gd name="T39" fmla="*/ 10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3" h="273">
                  <a:moveTo>
                    <a:pt x="0" y="11"/>
                  </a:moveTo>
                  <a:cubicBezTo>
                    <a:pt x="46" y="3"/>
                    <a:pt x="90" y="0"/>
                    <a:pt x="133" y="12"/>
                  </a:cubicBezTo>
                  <a:cubicBezTo>
                    <a:pt x="157" y="19"/>
                    <a:pt x="176" y="34"/>
                    <a:pt x="180" y="61"/>
                  </a:cubicBezTo>
                  <a:cubicBezTo>
                    <a:pt x="184" y="88"/>
                    <a:pt x="172" y="108"/>
                    <a:pt x="150" y="122"/>
                  </a:cubicBezTo>
                  <a:cubicBezTo>
                    <a:pt x="148" y="123"/>
                    <a:pt x="147" y="124"/>
                    <a:pt x="145" y="127"/>
                  </a:cubicBezTo>
                  <a:cubicBezTo>
                    <a:pt x="149" y="129"/>
                    <a:pt x="152" y="131"/>
                    <a:pt x="155" y="133"/>
                  </a:cubicBezTo>
                  <a:cubicBezTo>
                    <a:pt x="203" y="162"/>
                    <a:pt x="202" y="226"/>
                    <a:pt x="153" y="252"/>
                  </a:cubicBezTo>
                  <a:cubicBezTo>
                    <a:pt x="138" y="260"/>
                    <a:pt x="121" y="265"/>
                    <a:pt x="104" y="267"/>
                  </a:cubicBezTo>
                  <a:cubicBezTo>
                    <a:pt x="70" y="271"/>
                    <a:pt x="35" y="273"/>
                    <a:pt x="0" y="264"/>
                  </a:cubicBezTo>
                  <a:cubicBezTo>
                    <a:pt x="0" y="179"/>
                    <a:pt x="0" y="97"/>
                    <a:pt x="0" y="11"/>
                  </a:cubicBezTo>
                  <a:close/>
                  <a:moveTo>
                    <a:pt x="59" y="221"/>
                  </a:moveTo>
                  <a:cubicBezTo>
                    <a:pt x="85" y="229"/>
                    <a:pt x="112" y="225"/>
                    <a:pt x="120" y="209"/>
                  </a:cubicBezTo>
                  <a:cubicBezTo>
                    <a:pt x="125" y="198"/>
                    <a:pt x="125" y="181"/>
                    <a:pt x="120" y="170"/>
                  </a:cubicBezTo>
                  <a:cubicBezTo>
                    <a:pt x="114" y="154"/>
                    <a:pt x="87" y="149"/>
                    <a:pt x="59" y="157"/>
                  </a:cubicBezTo>
                  <a:cubicBezTo>
                    <a:pt x="59" y="178"/>
                    <a:pt x="59" y="200"/>
                    <a:pt x="59" y="221"/>
                  </a:cubicBezTo>
                  <a:close/>
                  <a:moveTo>
                    <a:pt x="58" y="107"/>
                  </a:moveTo>
                  <a:cubicBezTo>
                    <a:pt x="81" y="110"/>
                    <a:pt x="102" y="112"/>
                    <a:pt x="115" y="94"/>
                  </a:cubicBezTo>
                  <a:cubicBezTo>
                    <a:pt x="120" y="86"/>
                    <a:pt x="121" y="70"/>
                    <a:pt x="116" y="63"/>
                  </a:cubicBezTo>
                  <a:cubicBezTo>
                    <a:pt x="102" y="44"/>
                    <a:pt x="81" y="48"/>
                    <a:pt x="58" y="51"/>
                  </a:cubicBezTo>
                  <a:cubicBezTo>
                    <a:pt x="58" y="70"/>
                    <a:pt x="58" y="88"/>
                    <a:pt x="58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3"/>
            <p:cNvSpPr>
              <a:spLocks noEditPoints="1"/>
            </p:cNvSpPr>
            <p:nvPr/>
          </p:nvSpPr>
          <p:spPr bwMode="auto">
            <a:xfrm>
              <a:off x="5456238" y="-4083050"/>
              <a:ext cx="889000" cy="960438"/>
            </a:xfrm>
            <a:custGeom>
              <a:avLst/>
              <a:gdLst>
                <a:gd name="T0" fmla="*/ 237 w 237"/>
                <a:gd name="T1" fmla="*/ 256 h 256"/>
                <a:gd name="T2" fmla="*/ 174 w 237"/>
                <a:gd name="T3" fmla="*/ 256 h 256"/>
                <a:gd name="T4" fmla="*/ 153 w 237"/>
                <a:gd name="T5" fmla="*/ 194 h 256"/>
                <a:gd name="T6" fmla="*/ 81 w 237"/>
                <a:gd name="T7" fmla="*/ 194 h 256"/>
                <a:gd name="T8" fmla="*/ 61 w 237"/>
                <a:gd name="T9" fmla="*/ 256 h 256"/>
                <a:gd name="T10" fmla="*/ 0 w 237"/>
                <a:gd name="T11" fmla="*/ 256 h 256"/>
                <a:gd name="T12" fmla="*/ 79 w 237"/>
                <a:gd name="T13" fmla="*/ 0 h 256"/>
                <a:gd name="T14" fmla="*/ 157 w 237"/>
                <a:gd name="T15" fmla="*/ 0 h 256"/>
                <a:gd name="T16" fmla="*/ 237 w 237"/>
                <a:gd name="T17" fmla="*/ 256 h 256"/>
                <a:gd name="T18" fmla="*/ 118 w 237"/>
                <a:gd name="T19" fmla="*/ 53 h 256"/>
                <a:gd name="T20" fmla="*/ 114 w 237"/>
                <a:gd name="T21" fmla="*/ 53 h 256"/>
                <a:gd name="T22" fmla="*/ 90 w 237"/>
                <a:gd name="T23" fmla="*/ 145 h 256"/>
                <a:gd name="T24" fmla="*/ 143 w 237"/>
                <a:gd name="T25" fmla="*/ 145 h 256"/>
                <a:gd name="T26" fmla="*/ 118 w 237"/>
                <a:gd name="T27" fmla="*/ 53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7" h="256">
                  <a:moveTo>
                    <a:pt x="237" y="256"/>
                  </a:moveTo>
                  <a:cubicBezTo>
                    <a:pt x="214" y="256"/>
                    <a:pt x="195" y="256"/>
                    <a:pt x="174" y="256"/>
                  </a:cubicBezTo>
                  <a:cubicBezTo>
                    <a:pt x="167" y="235"/>
                    <a:pt x="160" y="215"/>
                    <a:pt x="153" y="194"/>
                  </a:cubicBezTo>
                  <a:cubicBezTo>
                    <a:pt x="128" y="194"/>
                    <a:pt x="105" y="194"/>
                    <a:pt x="81" y="194"/>
                  </a:cubicBezTo>
                  <a:cubicBezTo>
                    <a:pt x="74" y="214"/>
                    <a:pt x="68" y="234"/>
                    <a:pt x="61" y="256"/>
                  </a:cubicBezTo>
                  <a:cubicBezTo>
                    <a:pt x="41" y="256"/>
                    <a:pt x="23" y="256"/>
                    <a:pt x="0" y="256"/>
                  </a:cubicBezTo>
                  <a:cubicBezTo>
                    <a:pt x="27" y="168"/>
                    <a:pt x="53" y="85"/>
                    <a:pt x="79" y="0"/>
                  </a:cubicBezTo>
                  <a:cubicBezTo>
                    <a:pt x="105" y="0"/>
                    <a:pt x="130" y="0"/>
                    <a:pt x="157" y="0"/>
                  </a:cubicBezTo>
                  <a:cubicBezTo>
                    <a:pt x="183" y="83"/>
                    <a:pt x="209" y="168"/>
                    <a:pt x="237" y="256"/>
                  </a:cubicBezTo>
                  <a:close/>
                  <a:moveTo>
                    <a:pt x="118" y="53"/>
                  </a:moveTo>
                  <a:cubicBezTo>
                    <a:pt x="116" y="53"/>
                    <a:pt x="115" y="53"/>
                    <a:pt x="114" y="53"/>
                  </a:cubicBezTo>
                  <a:cubicBezTo>
                    <a:pt x="106" y="82"/>
                    <a:pt x="99" y="112"/>
                    <a:pt x="90" y="145"/>
                  </a:cubicBezTo>
                  <a:cubicBezTo>
                    <a:pt x="109" y="145"/>
                    <a:pt x="124" y="145"/>
                    <a:pt x="143" y="145"/>
                  </a:cubicBezTo>
                  <a:cubicBezTo>
                    <a:pt x="134" y="113"/>
                    <a:pt x="126" y="83"/>
                    <a:pt x="11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7165976" y="-4124325"/>
              <a:ext cx="679450" cy="1039813"/>
            </a:xfrm>
            <a:custGeom>
              <a:avLst/>
              <a:gdLst>
                <a:gd name="T0" fmla="*/ 0 w 181"/>
                <a:gd name="T1" fmla="*/ 257 h 277"/>
                <a:gd name="T2" fmla="*/ 12 w 181"/>
                <a:gd name="T3" fmla="*/ 211 h 277"/>
                <a:gd name="T4" fmla="*/ 33 w 181"/>
                <a:gd name="T5" fmla="*/ 216 h 277"/>
                <a:gd name="T6" fmla="*/ 73 w 181"/>
                <a:gd name="T7" fmla="*/ 223 h 277"/>
                <a:gd name="T8" fmla="*/ 116 w 181"/>
                <a:gd name="T9" fmla="*/ 201 h 277"/>
                <a:gd name="T10" fmla="*/ 86 w 181"/>
                <a:gd name="T11" fmla="*/ 165 h 277"/>
                <a:gd name="T12" fmla="*/ 40 w 181"/>
                <a:gd name="T13" fmla="*/ 144 h 277"/>
                <a:gd name="T14" fmla="*/ 3 w 181"/>
                <a:gd name="T15" fmla="*/ 80 h 277"/>
                <a:gd name="T16" fmla="*/ 48 w 181"/>
                <a:gd name="T17" fmla="*/ 16 h 277"/>
                <a:gd name="T18" fmla="*/ 166 w 181"/>
                <a:gd name="T19" fmla="*/ 20 h 277"/>
                <a:gd name="T20" fmla="*/ 156 w 181"/>
                <a:gd name="T21" fmla="*/ 63 h 277"/>
                <a:gd name="T22" fmla="*/ 133 w 181"/>
                <a:gd name="T23" fmla="*/ 58 h 277"/>
                <a:gd name="T24" fmla="*/ 89 w 181"/>
                <a:gd name="T25" fmla="*/ 56 h 277"/>
                <a:gd name="T26" fmla="*/ 66 w 181"/>
                <a:gd name="T27" fmla="*/ 76 h 277"/>
                <a:gd name="T28" fmla="*/ 80 w 181"/>
                <a:gd name="T29" fmla="*/ 100 h 277"/>
                <a:gd name="T30" fmla="*/ 126 w 181"/>
                <a:gd name="T31" fmla="*/ 121 h 277"/>
                <a:gd name="T32" fmla="*/ 178 w 181"/>
                <a:gd name="T33" fmla="*/ 199 h 277"/>
                <a:gd name="T34" fmla="*/ 110 w 181"/>
                <a:gd name="T35" fmla="*/ 269 h 277"/>
                <a:gd name="T36" fmla="*/ 0 w 181"/>
                <a:gd name="T37" fmla="*/ 25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1" h="277">
                  <a:moveTo>
                    <a:pt x="0" y="257"/>
                  </a:moveTo>
                  <a:cubicBezTo>
                    <a:pt x="4" y="240"/>
                    <a:pt x="8" y="226"/>
                    <a:pt x="12" y="211"/>
                  </a:cubicBezTo>
                  <a:cubicBezTo>
                    <a:pt x="21" y="213"/>
                    <a:pt x="27" y="215"/>
                    <a:pt x="33" y="216"/>
                  </a:cubicBezTo>
                  <a:cubicBezTo>
                    <a:pt x="46" y="219"/>
                    <a:pt x="59" y="222"/>
                    <a:pt x="73" y="223"/>
                  </a:cubicBezTo>
                  <a:cubicBezTo>
                    <a:pt x="99" y="224"/>
                    <a:pt x="114" y="216"/>
                    <a:pt x="116" y="201"/>
                  </a:cubicBezTo>
                  <a:cubicBezTo>
                    <a:pt x="119" y="178"/>
                    <a:pt x="101" y="172"/>
                    <a:pt x="86" y="165"/>
                  </a:cubicBezTo>
                  <a:cubicBezTo>
                    <a:pt x="71" y="157"/>
                    <a:pt x="55" y="152"/>
                    <a:pt x="40" y="144"/>
                  </a:cubicBezTo>
                  <a:cubicBezTo>
                    <a:pt x="16" y="130"/>
                    <a:pt x="2" y="109"/>
                    <a:pt x="3" y="80"/>
                  </a:cubicBezTo>
                  <a:cubicBezTo>
                    <a:pt x="5" y="50"/>
                    <a:pt x="21" y="29"/>
                    <a:pt x="48" y="16"/>
                  </a:cubicBezTo>
                  <a:cubicBezTo>
                    <a:pt x="81" y="0"/>
                    <a:pt x="133" y="1"/>
                    <a:pt x="166" y="20"/>
                  </a:cubicBezTo>
                  <a:cubicBezTo>
                    <a:pt x="163" y="33"/>
                    <a:pt x="160" y="47"/>
                    <a:pt x="156" y="63"/>
                  </a:cubicBezTo>
                  <a:cubicBezTo>
                    <a:pt x="146" y="61"/>
                    <a:pt x="139" y="59"/>
                    <a:pt x="133" y="58"/>
                  </a:cubicBezTo>
                  <a:cubicBezTo>
                    <a:pt x="118" y="57"/>
                    <a:pt x="103" y="53"/>
                    <a:pt x="89" y="56"/>
                  </a:cubicBezTo>
                  <a:cubicBezTo>
                    <a:pt x="80" y="58"/>
                    <a:pt x="68" y="67"/>
                    <a:pt x="66" y="76"/>
                  </a:cubicBezTo>
                  <a:cubicBezTo>
                    <a:pt x="64" y="82"/>
                    <a:pt x="73" y="95"/>
                    <a:pt x="80" y="100"/>
                  </a:cubicBezTo>
                  <a:cubicBezTo>
                    <a:pt x="94" y="109"/>
                    <a:pt x="110" y="114"/>
                    <a:pt x="126" y="121"/>
                  </a:cubicBezTo>
                  <a:cubicBezTo>
                    <a:pt x="164" y="138"/>
                    <a:pt x="181" y="164"/>
                    <a:pt x="178" y="199"/>
                  </a:cubicBezTo>
                  <a:cubicBezTo>
                    <a:pt x="175" y="234"/>
                    <a:pt x="151" y="260"/>
                    <a:pt x="110" y="269"/>
                  </a:cubicBezTo>
                  <a:cubicBezTo>
                    <a:pt x="74" y="277"/>
                    <a:pt x="38" y="274"/>
                    <a:pt x="0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3"/>
          <p:cNvGrpSpPr>
            <a:grpSpLocks noChangeAspect="1"/>
          </p:cNvGrpSpPr>
          <p:nvPr/>
        </p:nvGrpSpPr>
        <p:grpSpPr bwMode="auto">
          <a:xfrm>
            <a:off x="7270414" y="2698664"/>
            <a:ext cx="799962" cy="693008"/>
            <a:chOff x="427" y="1158"/>
            <a:chExt cx="546" cy="473"/>
          </a:xfrm>
          <a:solidFill>
            <a:schemeClr val="accent1"/>
          </a:solidFill>
        </p:grpSpPr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427" y="1158"/>
              <a:ext cx="367" cy="363"/>
            </a:xfrm>
            <a:custGeom>
              <a:avLst/>
              <a:gdLst>
                <a:gd name="T0" fmla="*/ 90 w 90"/>
                <a:gd name="T1" fmla="*/ 1 h 89"/>
                <a:gd name="T2" fmla="*/ 76 w 90"/>
                <a:gd name="T3" fmla="*/ 0 h 89"/>
                <a:gd name="T4" fmla="*/ 14 w 90"/>
                <a:gd name="T5" fmla="*/ 53 h 89"/>
                <a:gd name="T6" fmla="*/ 0 w 90"/>
                <a:gd name="T7" fmla="*/ 53 h 89"/>
                <a:gd name="T8" fmla="*/ 32 w 90"/>
                <a:gd name="T9" fmla="*/ 89 h 89"/>
                <a:gd name="T10" fmla="*/ 63 w 90"/>
                <a:gd name="T11" fmla="*/ 53 h 89"/>
                <a:gd name="T12" fmla="*/ 50 w 90"/>
                <a:gd name="T13" fmla="*/ 53 h 89"/>
                <a:gd name="T14" fmla="*/ 90 w 90"/>
                <a:gd name="T15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0" h="89">
                  <a:moveTo>
                    <a:pt x="90" y="1"/>
                  </a:moveTo>
                  <a:cubicBezTo>
                    <a:pt x="85" y="0"/>
                    <a:pt x="81" y="0"/>
                    <a:pt x="76" y="0"/>
                  </a:cubicBezTo>
                  <a:cubicBezTo>
                    <a:pt x="34" y="0"/>
                    <a:pt x="16" y="20"/>
                    <a:pt x="1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1" y="25"/>
                    <a:pt x="61" y="7"/>
                    <a:pt x="9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582" y="1199"/>
              <a:ext cx="391" cy="432"/>
            </a:xfrm>
            <a:custGeom>
              <a:avLst/>
              <a:gdLst>
                <a:gd name="T0" fmla="*/ 71 w 96"/>
                <a:gd name="T1" fmla="*/ 0 h 106"/>
                <a:gd name="T2" fmla="*/ 54 w 96"/>
                <a:gd name="T3" fmla="*/ 4 h 106"/>
                <a:gd name="T4" fmla="*/ 54 w 96"/>
                <a:gd name="T5" fmla="*/ 4 h 106"/>
                <a:gd name="T6" fmla="*/ 54 w 96"/>
                <a:gd name="T7" fmla="*/ 5 h 106"/>
                <a:gd name="T8" fmla="*/ 51 w 96"/>
                <a:gd name="T9" fmla="*/ 5 h 106"/>
                <a:gd name="T10" fmla="*/ 83 w 96"/>
                <a:gd name="T11" fmla="*/ 48 h 106"/>
                <a:gd name="T12" fmla="*/ 38 w 96"/>
                <a:gd name="T13" fmla="*/ 93 h 106"/>
                <a:gd name="T14" fmla="*/ 9 w 96"/>
                <a:gd name="T15" fmla="*/ 82 h 106"/>
                <a:gd name="T16" fmla="*/ 0 w 96"/>
                <a:gd name="T17" fmla="*/ 92 h 106"/>
                <a:gd name="T18" fmla="*/ 38 w 96"/>
                <a:gd name="T19" fmla="*/ 106 h 106"/>
                <a:gd name="T20" fmla="*/ 96 w 96"/>
                <a:gd name="T21" fmla="*/ 48 h 106"/>
                <a:gd name="T22" fmla="*/ 71 w 96"/>
                <a:gd name="T2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06">
                  <a:moveTo>
                    <a:pt x="71" y="0"/>
                  </a:moveTo>
                  <a:cubicBezTo>
                    <a:pt x="66" y="1"/>
                    <a:pt x="61" y="2"/>
                    <a:pt x="54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4" y="4"/>
                    <a:pt x="54" y="5"/>
                  </a:cubicBezTo>
                  <a:cubicBezTo>
                    <a:pt x="53" y="5"/>
                    <a:pt x="52" y="5"/>
                    <a:pt x="51" y="5"/>
                  </a:cubicBezTo>
                  <a:cubicBezTo>
                    <a:pt x="69" y="11"/>
                    <a:pt x="83" y="28"/>
                    <a:pt x="83" y="48"/>
                  </a:cubicBezTo>
                  <a:cubicBezTo>
                    <a:pt x="83" y="73"/>
                    <a:pt x="63" y="93"/>
                    <a:pt x="38" y="93"/>
                  </a:cubicBezTo>
                  <a:cubicBezTo>
                    <a:pt x="27" y="93"/>
                    <a:pt x="17" y="88"/>
                    <a:pt x="9" y="8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10" y="101"/>
                    <a:pt x="24" y="106"/>
                    <a:pt x="38" y="106"/>
                  </a:cubicBezTo>
                  <a:cubicBezTo>
                    <a:pt x="70" y="106"/>
                    <a:pt x="96" y="80"/>
                    <a:pt x="96" y="48"/>
                  </a:cubicBezTo>
                  <a:cubicBezTo>
                    <a:pt x="96" y="28"/>
                    <a:pt x="86" y="10"/>
                    <a:pt x="7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721" y="1268"/>
              <a:ext cx="106" cy="143"/>
            </a:xfrm>
            <a:custGeom>
              <a:avLst/>
              <a:gdLst>
                <a:gd name="T0" fmla="*/ 26 w 26"/>
                <a:gd name="T1" fmla="*/ 26 h 35"/>
                <a:gd name="T2" fmla="*/ 13 w 26"/>
                <a:gd name="T3" fmla="*/ 26 h 35"/>
                <a:gd name="T4" fmla="*/ 9 w 26"/>
                <a:gd name="T5" fmla="*/ 22 h 35"/>
                <a:gd name="T6" fmla="*/ 9 w 26"/>
                <a:gd name="T7" fmla="*/ 0 h 35"/>
                <a:gd name="T8" fmla="*/ 0 w 26"/>
                <a:gd name="T9" fmla="*/ 0 h 35"/>
                <a:gd name="T10" fmla="*/ 0 w 26"/>
                <a:gd name="T11" fmla="*/ 22 h 35"/>
                <a:gd name="T12" fmla="*/ 13 w 26"/>
                <a:gd name="T13" fmla="*/ 35 h 35"/>
                <a:gd name="T14" fmla="*/ 26 w 26"/>
                <a:gd name="T15" fmla="*/ 35 h 35"/>
                <a:gd name="T16" fmla="*/ 26 w 26"/>
                <a:gd name="T17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5">
                  <a:moveTo>
                    <a:pt x="26" y="26"/>
                  </a:moveTo>
                  <a:cubicBezTo>
                    <a:pt x="13" y="26"/>
                    <a:pt x="13" y="26"/>
                    <a:pt x="13" y="26"/>
                  </a:cubicBezTo>
                  <a:cubicBezTo>
                    <a:pt x="11" y="26"/>
                    <a:pt x="9" y="24"/>
                    <a:pt x="9" y="2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9"/>
                    <a:pt x="6" y="35"/>
                    <a:pt x="13" y="35"/>
                  </a:cubicBezTo>
                  <a:cubicBezTo>
                    <a:pt x="26" y="35"/>
                    <a:pt x="26" y="35"/>
                    <a:pt x="26" y="35"/>
                  </a:cubicBez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196563" y="4192233"/>
            <a:ext cx="504448" cy="755608"/>
            <a:chOff x="6119813" y="-814388"/>
            <a:chExt cx="1128712" cy="1690688"/>
          </a:xfrm>
          <a:solidFill>
            <a:schemeClr val="accent1"/>
          </a:solidFill>
        </p:grpSpPr>
        <p:sp>
          <p:nvSpPr>
            <p:cNvPr id="32" name="Freeform 29"/>
            <p:cNvSpPr>
              <a:spLocks/>
            </p:cNvSpPr>
            <p:nvPr/>
          </p:nvSpPr>
          <p:spPr bwMode="auto">
            <a:xfrm>
              <a:off x="6119813" y="760412"/>
              <a:ext cx="742950" cy="115888"/>
            </a:xfrm>
            <a:custGeom>
              <a:avLst/>
              <a:gdLst>
                <a:gd name="T0" fmla="*/ 0 w 468"/>
                <a:gd name="T1" fmla="*/ 0 h 73"/>
                <a:gd name="T2" fmla="*/ 468 w 468"/>
                <a:gd name="T3" fmla="*/ 0 h 73"/>
                <a:gd name="T4" fmla="*/ 468 w 468"/>
                <a:gd name="T5" fmla="*/ 73 h 73"/>
                <a:gd name="T6" fmla="*/ 0 w 468"/>
                <a:gd name="T7" fmla="*/ 73 h 73"/>
                <a:gd name="T8" fmla="*/ 0 w 468"/>
                <a:gd name="T9" fmla="*/ 0 h 73"/>
                <a:gd name="T10" fmla="*/ 0 w 468"/>
                <a:gd name="T11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8" h="73">
                  <a:moveTo>
                    <a:pt x="0" y="0"/>
                  </a:moveTo>
                  <a:lnTo>
                    <a:pt x="468" y="0"/>
                  </a:lnTo>
                  <a:lnTo>
                    <a:pt x="46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0"/>
            <p:cNvSpPr>
              <a:spLocks noEditPoints="1"/>
            </p:cNvSpPr>
            <p:nvPr/>
          </p:nvSpPr>
          <p:spPr bwMode="auto">
            <a:xfrm>
              <a:off x="6169025" y="-814388"/>
              <a:ext cx="1079500" cy="1477963"/>
            </a:xfrm>
            <a:custGeom>
              <a:avLst/>
              <a:gdLst>
                <a:gd name="T0" fmla="*/ 286 w 288"/>
                <a:gd name="T1" fmla="*/ 97 h 394"/>
                <a:gd name="T2" fmla="*/ 286 w 288"/>
                <a:gd name="T3" fmla="*/ 95 h 394"/>
                <a:gd name="T4" fmla="*/ 286 w 288"/>
                <a:gd name="T5" fmla="*/ 90 h 394"/>
                <a:gd name="T6" fmla="*/ 217 w 288"/>
                <a:gd name="T7" fmla="*/ 0 h 394"/>
                <a:gd name="T8" fmla="*/ 215 w 288"/>
                <a:gd name="T9" fmla="*/ 24 h 394"/>
                <a:gd name="T10" fmla="*/ 260 w 288"/>
                <a:gd name="T11" fmla="*/ 71 h 394"/>
                <a:gd name="T12" fmla="*/ 241 w 288"/>
                <a:gd name="T13" fmla="*/ 71 h 394"/>
                <a:gd name="T14" fmla="*/ 217 w 288"/>
                <a:gd name="T15" fmla="*/ 95 h 394"/>
                <a:gd name="T16" fmla="*/ 217 w 288"/>
                <a:gd name="T17" fmla="*/ 166 h 394"/>
                <a:gd name="T18" fmla="*/ 241 w 288"/>
                <a:gd name="T19" fmla="*/ 190 h 394"/>
                <a:gd name="T20" fmla="*/ 260 w 288"/>
                <a:gd name="T21" fmla="*/ 190 h 394"/>
                <a:gd name="T22" fmla="*/ 260 w 288"/>
                <a:gd name="T23" fmla="*/ 353 h 394"/>
                <a:gd name="T24" fmla="*/ 256 w 288"/>
                <a:gd name="T25" fmla="*/ 357 h 394"/>
                <a:gd name="T26" fmla="*/ 239 w 288"/>
                <a:gd name="T27" fmla="*/ 357 h 394"/>
                <a:gd name="T28" fmla="*/ 234 w 288"/>
                <a:gd name="T29" fmla="*/ 353 h 394"/>
                <a:gd name="T30" fmla="*/ 234 w 288"/>
                <a:gd name="T31" fmla="*/ 233 h 394"/>
                <a:gd name="T32" fmla="*/ 204 w 288"/>
                <a:gd name="T33" fmla="*/ 202 h 394"/>
                <a:gd name="T34" fmla="*/ 174 w 288"/>
                <a:gd name="T35" fmla="*/ 202 h 394"/>
                <a:gd name="T36" fmla="*/ 174 w 288"/>
                <a:gd name="T37" fmla="*/ 112 h 394"/>
                <a:gd name="T38" fmla="*/ 146 w 288"/>
                <a:gd name="T39" fmla="*/ 84 h 394"/>
                <a:gd name="T40" fmla="*/ 28 w 288"/>
                <a:gd name="T41" fmla="*/ 84 h 394"/>
                <a:gd name="T42" fmla="*/ 0 w 288"/>
                <a:gd name="T43" fmla="*/ 112 h 394"/>
                <a:gd name="T44" fmla="*/ 0 w 288"/>
                <a:gd name="T45" fmla="*/ 394 h 394"/>
                <a:gd name="T46" fmla="*/ 174 w 288"/>
                <a:gd name="T47" fmla="*/ 394 h 394"/>
                <a:gd name="T48" fmla="*/ 174 w 288"/>
                <a:gd name="T49" fmla="*/ 228 h 394"/>
                <a:gd name="T50" fmla="*/ 204 w 288"/>
                <a:gd name="T51" fmla="*/ 228 h 394"/>
                <a:gd name="T52" fmla="*/ 209 w 288"/>
                <a:gd name="T53" fmla="*/ 233 h 394"/>
                <a:gd name="T54" fmla="*/ 209 w 288"/>
                <a:gd name="T55" fmla="*/ 353 h 394"/>
                <a:gd name="T56" fmla="*/ 239 w 288"/>
                <a:gd name="T57" fmla="*/ 383 h 394"/>
                <a:gd name="T58" fmla="*/ 256 w 288"/>
                <a:gd name="T59" fmla="*/ 383 h 394"/>
                <a:gd name="T60" fmla="*/ 286 w 288"/>
                <a:gd name="T61" fmla="*/ 353 h 394"/>
                <a:gd name="T62" fmla="*/ 286 w 288"/>
                <a:gd name="T63" fmla="*/ 170 h 394"/>
                <a:gd name="T64" fmla="*/ 286 w 288"/>
                <a:gd name="T65" fmla="*/ 170 h 394"/>
                <a:gd name="T66" fmla="*/ 286 w 288"/>
                <a:gd name="T67" fmla="*/ 166 h 394"/>
                <a:gd name="T68" fmla="*/ 286 w 288"/>
                <a:gd name="T69" fmla="*/ 116 h 394"/>
                <a:gd name="T70" fmla="*/ 286 w 288"/>
                <a:gd name="T71" fmla="*/ 97 h 394"/>
                <a:gd name="T72" fmla="*/ 247 w 288"/>
                <a:gd name="T73" fmla="*/ 172 h 394"/>
                <a:gd name="T74" fmla="*/ 232 w 288"/>
                <a:gd name="T75" fmla="*/ 157 h 394"/>
                <a:gd name="T76" fmla="*/ 232 w 288"/>
                <a:gd name="T77" fmla="*/ 136 h 394"/>
                <a:gd name="T78" fmla="*/ 247 w 288"/>
                <a:gd name="T79" fmla="*/ 121 h 394"/>
                <a:gd name="T80" fmla="*/ 262 w 288"/>
                <a:gd name="T81" fmla="*/ 136 h 394"/>
                <a:gd name="T82" fmla="*/ 262 w 288"/>
                <a:gd name="T83" fmla="*/ 157 h 394"/>
                <a:gd name="T84" fmla="*/ 247 w 288"/>
                <a:gd name="T85" fmla="*/ 172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8" h="394">
                  <a:moveTo>
                    <a:pt x="286" y="97"/>
                  </a:moveTo>
                  <a:cubicBezTo>
                    <a:pt x="286" y="95"/>
                    <a:pt x="286" y="95"/>
                    <a:pt x="286" y="95"/>
                  </a:cubicBezTo>
                  <a:cubicBezTo>
                    <a:pt x="286" y="93"/>
                    <a:pt x="286" y="90"/>
                    <a:pt x="286" y="90"/>
                  </a:cubicBezTo>
                  <a:cubicBezTo>
                    <a:pt x="275" y="6"/>
                    <a:pt x="219" y="2"/>
                    <a:pt x="217" y="0"/>
                  </a:cubicBezTo>
                  <a:cubicBezTo>
                    <a:pt x="215" y="24"/>
                    <a:pt x="215" y="24"/>
                    <a:pt x="215" y="24"/>
                  </a:cubicBezTo>
                  <a:cubicBezTo>
                    <a:pt x="217" y="24"/>
                    <a:pt x="247" y="28"/>
                    <a:pt x="260" y="71"/>
                  </a:cubicBezTo>
                  <a:cubicBezTo>
                    <a:pt x="241" y="71"/>
                    <a:pt x="241" y="71"/>
                    <a:pt x="241" y="71"/>
                  </a:cubicBezTo>
                  <a:cubicBezTo>
                    <a:pt x="228" y="71"/>
                    <a:pt x="217" y="82"/>
                    <a:pt x="217" y="95"/>
                  </a:cubicBezTo>
                  <a:cubicBezTo>
                    <a:pt x="217" y="166"/>
                    <a:pt x="217" y="166"/>
                    <a:pt x="217" y="166"/>
                  </a:cubicBezTo>
                  <a:cubicBezTo>
                    <a:pt x="217" y="179"/>
                    <a:pt x="228" y="190"/>
                    <a:pt x="241" y="190"/>
                  </a:cubicBezTo>
                  <a:cubicBezTo>
                    <a:pt x="260" y="190"/>
                    <a:pt x="260" y="190"/>
                    <a:pt x="260" y="190"/>
                  </a:cubicBezTo>
                  <a:cubicBezTo>
                    <a:pt x="260" y="353"/>
                    <a:pt x="260" y="353"/>
                    <a:pt x="260" y="353"/>
                  </a:cubicBezTo>
                  <a:cubicBezTo>
                    <a:pt x="260" y="355"/>
                    <a:pt x="258" y="357"/>
                    <a:pt x="256" y="357"/>
                  </a:cubicBezTo>
                  <a:cubicBezTo>
                    <a:pt x="239" y="357"/>
                    <a:pt x="239" y="357"/>
                    <a:pt x="239" y="357"/>
                  </a:cubicBezTo>
                  <a:cubicBezTo>
                    <a:pt x="237" y="357"/>
                    <a:pt x="234" y="355"/>
                    <a:pt x="234" y="353"/>
                  </a:cubicBezTo>
                  <a:cubicBezTo>
                    <a:pt x="234" y="233"/>
                    <a:pt x="234" y="233"/>
                    <a:pt x="234" y="233"/>
                  </a:cubicBezTo>
                  <a:cubicBezTo>
                    <a:pt x="234" y="215"/>
                    <a:pt x="221" y="202"/>
                    <a:pt x="204" y="202"/>
                  </a:cubicBezTo>
                  <a:cubicBezTo>
                    <a:pt x="174" y="202"/>
                    <a:pt x="174" y="202"/>
                    <a:pt x="174" y="202"/>
                  </a:cubicBezTo>
                  <a:cubicBezTo>
                    <a:pt x="174" y="112"/>
                    <a:pt x="174" y="112"/>
                    <a:pt x="174" y="112"/>
                  </a:cubicBezTo>
                  <a:cubicBezTo>
                    <a:pt x="174" y="95"/>
                    <a:pt x="161" y="84"/>
                    <a:pt x="146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11" y="84"/>
                    <a:pt x="0" y="95"/>
                    <a:pt x="0" y="112"/>
                  </a:cubicBezTo>
                  <a:cubicBezTo>
                    <a:pt x="0" y="394"/>
                    <a:pt x="0" y="394"/>
                    <a:pt x="0" y="394"/>
                  </a:cubicBezTo>
                  <a:cubicBezTo>
                    <a:pt x="122" y="394"/>
                    <a:pt x="174" y="394"/>
                    <a:pt x="174" y="394"/>
                  </a:cubicBezTo>
                  <a:cubicBezTo>
                    <a:pt x="174" y="228"/>
                    <a:pt x="174" y="228"/>
                    <a:pt x="174" y="228"/>
                  </a:cubicBezTo>
                  <a:cubicBezTo>
                    <a:pt x="204" y="228"/>
                    <a:pt x="204" y="228"/>
                    <a:pt x="204" y="228"/>
                  </a:cubicBezTo>
                  <a:cubicBezTo>
                    <a:pt x="206" y="228"/>
                    <a:pt x="209" y="230"/>
                    <a:pt x="209" y="233"/>
                  </a:cubicBezTo>
                  <a:cubicBezTo>
                    <a:pt x="209" y="353"/>
                    <a:pt x="209" y="353"/>
                    <a:pt x="209" y="353"/>
                  </a:cubicBezTo>
                  <a:cubicBezTo>
                    <a:pt x="209" y="370"/>
                    <a:pt x="221" y="383"/>
                    <a:pt x="239" y="383"/>
                  </a:cubicBezTo>
                  <a:cubicBezTo>
                    <a:pt x="256" y="383"/>
                    <a:pt x="256" y="383"/>
                    <a:pt x="256" y="383"/>
                  </a:cubicBezTo>
                  <a:cubicBezTo>
                    <a:pt x="273" y="383"/>
                    <a:pt x="286" y="370"/>
                    <a:pt x="286" y="353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86" y="170"/>
                    <a:pt x="286" y="170"/>
                    <a:pt x="286" y="170"/>
                  </a:cubicBezTo>
                  <a:cubicBezTo>
                    <a:pt x="286" y="168"/>
                    <a:pt x="286" y="166"/>
                    <a:pt x="286" y="166"/>
                  </a:cubicBezTo>
                  <a:cubicBezTo>
                    <a:pt x="286" y="116"/>
                    <a:pt x="286" y="116"/>
                    <a:pt x="286" y="116"/>
                  </a:cubicBezTo>
                  <a:cubicBezTo>
                    <a:pt x="286" y="116"/>
                    <a:pt x="288" y="103"/>
                    <a:pt x="286" y="97"/>
                  </a:cubicBezTo>
                  <a:close/>
                  <a:moveTo>
                    <a:pt x="247" y="172"/>
                  </a:moveTo>
                  <a:cubicBezTo>
                    <a:pt x="239" y="172"/>
                    <a:pt x="232" y="166"/>
                    <a:pt x="232" y="157"/>
                  </a:cubicBezTo>
                  <a:cubicBezTo>
                    <a:pt x="232" y="136"/>
                    <a:pt x="232" y="136"/>
                    <a:pt x="232" y="136"/>
                  </a:cubicBezTo>
                  <a:cubicBezTo>
                    <a:pt x="232" y="127"/>
                    <a:pt x="239" y="121"/>
                    <a:pt x="247" y="121"/>
                  </a:cubicBezTo>
                  <a:cubicBezTo>
                    <a:pt x="256" y="121"/>
                    <a:pt x="262" y="127"/>
                    <a:pt x="262" y="136"/>
                  </a:cubicBezTo>
                  <a:cubicBezTo>
                    <a:pt x="262" y="157"/>
                    <a:pt x="262" y="157"/>
                    <a:pt x="262" y="157"/>
                  </a:cubicBezTo>
                  <a:cubicBezTo>
                    <a:pt x="262" y="166"/>
                    <a:pt x="256" y="172"/>
                    <a:pt x="247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068048" y="4308503"/>
            <a:ext cx="962156" cy="497398"/>
            <a:chOff x="2959101" y="-969963"/>
            <a:chExt cx="2152650" cy="1112838"/>
          </a:xfrm>
          <a:solidFill>
            <a:schemeClr val="accent1"/>
          </a:solidFill>
        </p:grpSpPr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2959101" y="-969963"/>
              <a:ext cx="2152650" cy="1112838"/>
            </a:xfrm>
            <a:custGeom>
              <a:avLst/>
              <a:gdLst>
                <a:gd name="T0" fmla="*/ 109 w 1130"/>
                <a:gd name="T1" fmla="*/ 348 h 584"/>
                <a:gd name="T2" fmla="*/ 48 w 1130"/>
                <a:gd name="T3" fmla="*/ 429 h 584"/>
                <a:gd name="T4" fmla="*/ 28 w 1130"/>
                <a:gd name="T5" fmla="*/ 329 h 584"/>
                <a:gd name="T6" fmla="*/ 5 w 1130"/>
                <a:gd name="T7" fmla="*/ 206 h 584"/>
                <a:gd name="T8" fmla="*/ 108 w 1130"/>
                <a:gd name="T9" fmla="*/ 136 h 584"/>
                <a:gd name="T10" fmla="*/ 171 w 1130"/>
                <a:gd name="T11" fmla="*/ 275 h 584"/>
                <a:gd name="T12" fmla="*/ 230 w 1130"/>
                <a:gd name="T13" fmla="*/ 136 h 584"/>
                <a:gd name="T14" fmla="*/ 430 w 1130"/>
                <a:gd name="T15" fmla="*/ 136 h 584"/>
                <a:gd name="T16" fmla="*/ 272 w 1130"/>
                <a:gd name="T17" fmla="*/ 94 h 584"/>
                <a:gd name="T18" fmla="*/ 612 w 1130"/>
                <a:gd name="T19" fmla="*/ 1 h 584"/>
                <a:gd name="T20" fmla="*/ 521 w 1130"/>
                <a:gd name="T21" fmla="*/ 93 h 584"/>
                <a:gd name="T22" fmla="*/ 663 w 1130"/>
                <a:gd name="T23" fmla="*/ 136 h 584"/>
                <a:gd name="T24" fmla="*/ 601 w 1130"/>
                <a:gd name="T25" fmla="*/ 193 h 584"/>
                <a:gd name="T26" fmla="*/ 259 w 1130"/>
                <a:gd name="T27" fmla="*/ 196 h 584"/>
                <a:gd name="T28" fmla="*/ 231 w 1130"/>
                <a:gd name="T29" fmla="*/ 409 h 584"/>
                <a:gd name="T30" fmla="*/ 383 w 1130"/>
                <a:gd name="T31" fmla="*/ 440 h 584"/>
                <a:gd name="T32" fmla="*/ 511 w 1130"/>
                <a:gd name="T33" fmla="*/ 527 h 584"/>
                <a:gd name="T34" fmla="*/ 862 w 1130"/>
                <a:gd name="T35" fmla="*/ 526 h 584"/>
                <a:gd name="T36" fmla="*/ 1003 w 1130"/>
                <a:gd name="T37" fmla="*/ 466 h 584"/>
                <a:gd name="T38" fmla="*/ 1048 w 1130"/>
                <a:gd name="T39" fmla="*/ 516 h 584"/>
                <a:gd name="T40" fmla="*/ 1073 w 1130"/>
                <a:gd name="T41" fmla="*/ 331 h 584"/>
                <a:gd name="T42" fmla="*/ 1003 w 1130"/>
                <a:gd name="T43" fmla="*/ 347 h 584"/>
                <a:gd name="T44" fmla="*/ 864 w 1130"/>
                <a:gd name="T45" fmla="*/ 259 h 584"/>
                <a:gd name="T46" fmla="*/ 922 w 1130"/>
                <a:gd name="T47" fmla="*/ 291 h 584"/>
                <a:gd name="T48" fmla="*/ 949 w 1130"/>
                <a:gd name="T49" fmla="*/ 250 h 584"/>
                <a:gd name="T50" fmla="*/ 1077 w 1130"/>
                <a:gd name="T51" fmla="*/ 258 h 584"/>
                <a:gd name="T52" fmla="*/ 1130 w 1130"/>
                <a:gd name="T53" fmla="*/ 523 h 584"/>
                <a:gd name="T54" fmla="*/ 947 w 1130"/>
                <a:gd name="T55" fmla="*/ 583 h 584"/>
                <a:gd name="T56" fmla="*/ 924 w 1130"/>
                <a:gd name="T57" fmla="*/ 524 h 584"/>
                <a:gd name="T58" fmla="*/ 858 w 1130"/>
                <a:gd name="T59" fmla="*/ 583 h 584"/>
                <a:gd name="T60" fmla="*/ 443 w 1130"/>
                <a:gd name="T61" fmla="*/ 565 h 584"/>
                <a:gd name="T62" fmla="*/ 296 w 1130"/>
                <a:gd name="T63" fmla="*/ 468 h 584"/>
                <a:gd name="T64" fmla="*/ 171 w 1130"/>
                <a:gd name="T65" fmla="*/ 421 h 5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0" h="584">
                  <a:moveTo>
                    <a:pt x="171" y="348"/>
                  </a:moveTo>
                  <a:cubicBezTo>
                    <a:pt x="149" y="348"/>
                    <a:pt x="131" y="348"/>
                    <a:pt x="109" y="348"/>
                  </a:cubicBezTo>
                  <a:cubicBezTo>
                    <a:pt x="109" y="394"/>
                    <a:pt x="109" y="440"/>
                    <a:pt x="109" y="485"/>
                  </a:cubicBezTo>
                  <a:cubicBezTo>
                    <a:pt x="72" y="481"/>
                    <a:pt x="51" y="463"/>
                    <a:pt x="48" y="429"/>
                  </a:cubicBezTo>
                  <a:cubicBezTo>
                    <a:pt x="45" y="401"/>
                    <a:pt x="47" y="372"/>
                    <a:pt x="47" y="344"/>
                  </a:cubicBezTo>
                  <a:cubicBezTo>
                    <a:pt x="39" y="338"/>
                    <a:pt x="34" y="333"/>
                    <a:pt x="28" y="329"/>
                  </a:cubicBezTo>
                  <a:cubicBezTo>
                    <a:pt x="13" y="316"/>
                    <a:pt x="5" y="300"/>
                    <a:pt x="5" y="280"/>
                  </a:cubicBezTo>
                  <a:cubicBezTo>
                    <a:pt x="6" y="255"/>
                    <a:pt x="8" y="230"/>
                    <a:pt x="5" y="206"/>
                  </a:cubicBezTo>
                  <a:cubicBezTo>
                    <a:pt x="0" y="170"/>
                    <a:pt x="37" y="132"/>
                    <a:pt x="72" y="136"/>
                  </a:cubicBezTo>
                  <a:cubicBezTo>
                    <a:pt x="83" y="137"/>
                    <a:pt x="94" y="136"/>
                    <a:pt x="108" y="136"/>
                  </a:cubicBezTo>
                  <a:cubicBezTo>
                    <a:pt x="108" y="184"/>
                    <a:pt x="108" y="229"/>
                    <a:pt x="108" y="275"/>
                  </a:cubicBezTo>
                  <a:cubicBezTo>
                    <a:pt x="130" y="275"/>
                    <a:pt x="148" y="275"/>
                    <a:pt x="171" y="275"/>
                  </a:cubicBezTo>
                  <a:cubicBezTo>
                    <a:pt x="171" y="249"/>
                    <a:pt x="171" y="222"/>
                    <a:pt x="171" y="196"/>
                  </a:cubicBezTo>
                  <a:cubicBezTo>
                    <a:pt x="171" y="150"/>
                    <a:pt x="185" y="136"/>
                    <a:pt x="230" y="136"/>
                  </a:cubicBezTo>
                  <a:cubicBezTo>
                    <a:pt x="288" y="136"/>
                    <a:pt x="346" y="136"/>
                    <a:pt x="404" y="136"/>
                  </a:cubicBezTo>
                  <a:cubicBezTo>
                    <a:pt x="412" y="136"/>
                    <a:pt x="420" y="136"/>
                    <a:pt x="430" y="136"/>
                  </a:cubicBezTo>
                  <a:cubicBezTo>
                    <a:pt x="430" y="122"/>
                    <a:pt x="430" y="110"/>
                    <a:pt x="430" y="94"/>
                  </a:cubicBezTo>
                  <a:cubicBezTo>
                    <a:pt x="377" y="94"/>
                    <a:pt x="324" y="94"/>
                    <a:pt x="272" y="94"/>
                  </a:cubicBezTo>
                  <a:cubicBezTo>
                    <a:pt x="256" y="41"/>
                    <a:pt x="286" y="1"/>
                    <a:pt x="338" y="1"/>
                  </a:cubicBezTo>
                  <a:cubicBezTo>
                    <a:pt x="429" y="0"/>
                    <a:pt x="520" y="0"/>
                    <a:pt x="612" y="1"/>
                  </a:cubicBezTo>
                  <a:cubicBezTo>
                    <a:pt x="667" y="1"/>
                    <a:pt x="693" y="35"/>
                    <a:pt x="681" y="93"/>
                  </a:cubicBezTo>
                  <a:cubicBezTo>
                    <a:pt x="629" y="93"/>
                    <a:pt x="576" y="93"/>
                    <a:pt x="521" y="93"/>
                  </a:cubicBezTo>
                  <a:cubicBezTo>
                    <a:pt x="521" y="108"/>
                    <a:pt x="521" y="121"/>
                    <a:pt x="521" y="136"/>
                  </a:cubicBezTo>
                  <a:cubicBezTo>
                    <a:pt x="569" y="136"/>
                    <a:pt x="616" y="136"/>
                    <a:pt x="663" y="136"/>
                  </a:cubicBezTo>
                  <a:cubicBezTo>
                    <a:pt x="663" y="137"/>
                    <a:pt x="664" y="139"/>
                    <a:pt x="665" y="141"/>
                  </a:cubicBezTo>
                  <a:cubicBezTo>
                    <a:pt x="643" y="158"/>
                    <a:pt x="622" y="177"/>
                    <a:pt x="601" y="193"/>
                  </a:cubicBezTo>
                  <a:cubicBezTo>
                    <a:pt x="596" y="197"/>
                    <a:pt x="588" y="196"/>
                    <a:pt x="581" y="196"/>
                  </a:cubicBezTo>
                  <a:cubicBezTo>
                    <a:pt x="474" y="196"/>
                    <a:pt x="367" y="196"/>
                    <a:pt x="259" y="196"/>
                  </a:cubicBezTo>
                  <a:cubicBezTo>
                    <a:pt x="251" y="196"/>
                    <a:pt x="242" y="197"/>
                    <a:pt x="231" y="197"/>
                  </a:cubicBezTo>
                  <a:cubicBezTo>
                    <a:pt x="231" y="267"/>
                    <a:pt x="231" y="336"/>
                    <a:pt x="231" y="409"/>
                  </a:cubicBezTo>
                  <a:cubicBezTo>
                    <a:pt x="253" y="409"/>
                    <a:pt x="273" y="411"/>
                    <a:pt x="292" y="409"/>
                  </a:cubicBezTo>
                  <a:cubicBezTo>
                    <a:pt x="328" y="405"/>
                    <a:pt x="356" y="416"/>
                    <a:pt x="383" y="440"/>
                  </a:cubicBezTo>
                  <a:cubicBezTo>
                    <a:pt x="410" y="466"/>
                    <a:pt x="441" y="489"/>
                    <a:pt x="471" y="512"/>
                  </a:cubicBezTo>
                  <a:cubicBezTo>
                    <a:pt x="482" y="520"/>
                    <a:pt x="497" y="527"/>
                    <a:pt x="511" y="527"/>
                  </a:cubicBezTo>
                  <a:cubicBezTo>
                    <a:pt x="622" y="529"/>
                    <a:pt x="733" y="528"/>
                    <a:pt x="845" y="528"/>
                  </a:cubicBezTo>
                  <a:cubicBezTo>
                    <a:pt x="849" y="528"/>
                    <a:pt x="854" y="527"/>
                    <a:pt x="862" y="526"/>
                  </a:cubicBezTo>
                  <a:cubicBezTo>
                    <a:pt x="862" y="506"/>
                    <a:pt x="862" y="487"/>
                    <a:pt x="862" y="466"/>
                  </a:cubicBezTo>
                  <a:cubicBezTo>
                    <a:pt x="910" y="466"/>
                    <a:pt x="955" y="466"/>
                    <a:pt x="1003" y="466"/>
                  </a:cubicBezTo>
                  <a:cubicBezTo>
                    <a:pt x="1004" y="482"/>
                    <a:pt x="1005" y="498"/>
                    <a:pt x="1006" y="516"/>
                  </a:cubicBezTo>
                  <a:cubicBezTo>
                    <a:pt x="1021" y="516"/>
                    <a:pt x="1034" y="516"/>
                    <a:pt x="1048" y="516"/>
                  </a:cubicBezTo>
                  <a:cubicBezTo>
                    <a:pt x="1067" y="503"/>
                    <a:pt x="1075" y="487"/>
                    <a:pt x="1074" y="464"/>
                  </a:cubicBezTo>
                  <a:cubicBezTo>
                    <a:pt x="1072" y="419"/>
                    <a:pt x="1073" y="374"/>
                    <a:pt x="1073" y="331"/>
                  </a:cubicBezTo>
                  <a:cubicBezTo>
                    <a:pt x="1050" y="305"/>
                    <a:pt x="1043" y="303"/>
                    <a:pt x="1006" y="310"/>
                  </a:cubicBezTo>
                  <a:cubicBezTo>
                    <a:pt x="1005" y="322"/>
                    <a:pt x="1004" y="333"/>
                    <a:pt x="1003" y="347"/>
                  </a:cubicBezTo>
                  <a:cubicBezTo>
                    <a:pt x="957" y="347"/>
                    <a:pt x="911" y="347"/>
                    <a:pt x="864" y="347"/>
                  </a:cubicBezTo>
                  <a:cubicBezTo>
                    <a:pt x="864" y="319"/>
                    <a:pt x="864" y="290"/>
                    <a:pt x="864" y="259"/>
                  </a:cubicBezTo>
                  <a:cubicBezTo>
                    <a:pt x="880" y="247"/>
                    <a:pt x="899" y="234"/>
                    <a:pt x="922" y="219"/>
                  </a:cubicBezTo>
                  <a:cubicBezTo>
                    <a:pt x="922" y="245"/>
                    <a:pt x="922" y="267"/>
                    <a:pt x="922" y="291"/>
                  </a:cubicBezTo>
                  <a:cubicBezTo>
                    <a:pt x="931" y="291"/>
                    <a:pt x="938" y="291"/>
                    <a:pt x="945" y="291"/>
                  </a:cubicBezTo>
                  <a:cubicBezTo>
                    <a:pt x="946" y="277"/>
                    <a:pt x="947" y="265"/>
                    <a:pt x="949" y="250"/>
                  </a:cubicBezTo>
                  <a:cubicBezTo>
                    <a:pt x="988" y="250"/>
                    <a:pt x="1027" y="250"/>
                    <a:pt x="1065" y="251"/>
                  </a:cubicBezTo>
                  <a:cubicBezTo>
                    <a:pt x="1069" y="251"/>
                    <a:pt x="1074" y="254"/>
                    <a:pt x="1077" y="258"/>
                  </a:cubicBezTo>
                  <a:cubicBezTo>
                    <a:pt x="1094" y="275"/>
                    <a:pt x="1111" y="293"/>
                    <a:pt x="1130" y="314"/>
                  </a:cubicBezTo>
                  <a:cubicBezTo>
                    <a:pt x="1130" y="380"/>
                    <a:pt x="1130" y="451"/>
                    <a:pt x="1130" y="523"/>
                  </a:cubicBezTo>
                  <a:cubicBezTo>
                    <a:pt x="1110" y="542"/>
                    <a:pt x="1089" y="562"/>
                    <a:pt x="1067" y="583"/>
                  </a:cubicBezTo>
                  <a:cubicBezTo>
                    <a:pt x="1030" y="583"/>
                    <a:pt x="991" y="583"/>
                    <a:pt x="947" y="583"/>
                  </a:cubicBezTo>
                  <a:cubicBezTo>
                    <a:pt x="947" y="563"/>
                    <a:pt x="947" y="544"/>
                    <a:pt x="947" y="524"/>
                  </a:cubicBezTo>
                  <a:cubicBezTo>
                    <a:pt x="938" y="524"/>
                    <a:pt x="931" y="524"/>
                    <a:pt x="924" y="524"/>
                  </a:cubicBezTo>
                  <a:cubicBezTo>
                    <a:pt x="922" y="529"/>
                    <a:pt x="921" y="533"/>
                    <a:pt x="919" y="537"/>
                  </a:cubicBezTo>
                  <a:cubicBezTo>
                    <a:pt x="909" y="566"/>
                    <a:pt x="888" y="583"/>
                    <a:pt x="858" y="583"/>
                  </a:cubicBezTo>
                  <a:cubicBezTo>
                    <a:pt x="733" y="584"/>
                    <a:pt x="607" y="584"/>
                    <a:pt x="482" y="583"/>
                  </a:cubicBezTo>
                  <a:cubicBezTo>
                    <a:pt x="469" y="583"/>
                    <a:pt x="455" y="574"/>
                    <a:pt x="443" y="565"/>
                  </a:cubicBezTo>
                  <a:cubicBezTo>
                    <a:pt x="410" y="540"/>
                    <a:pt x="378" y="513"/>
                    <a:pt x="346" y="486"/>
                  </a:cubicBezTo>
                  <a:cubicBezTo>
                    <a:pt x="331" y="474"/>
                    <a:pt x="316" y="467"/>
                    <a:pt x="296" y="468"/>
                  </a:cubicBezTo>
                  <a:cubicBezTo>
                    <a:pt x="270" y="469"/>
                    <a:pt x="244" y="469"/>
                    <a:pt x="218" y="468"/>
                  </a:cubicBezTo>
                  <a:cubicBezTo>
                    <a:pt x="188" y="468"/>
                    <a:pt x="172" y="451"/>
                    <a:pt x="171" y="421"/>
                  </a:cubicBezTo>
                  <a:cubicBezTo>
                    <a:pt x="170" y="397"/>
                    <a:pt x="171" y="373"/>
                    <a:pt x="171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3844926" y="-920750"/>
              <a:ext cx="1035050" cy="846138"/>
            </a:xfrm>
            <a:custGeom>
              <a:avLst/>
              <a:gdLst>
                <a:gd name="T0" fmla="*/ 261 w 543"/>
                <a:gd name="T1" fmla="*/ 198 h 444"/>
                <a:gd name="T2" fmla="*/ 152 w 543"/>
                <a:gd name="T3" fmla="*/ 198 h 444"/>
                <a:gd name="T4" fmla="*/ 150 w 543"/>
                <a:gd name="T5" fmla="*/ 193 h 444"/>
                <a:gd name="T6" fmla="*/ 384 w 543"/>
                <a:gd name="T7" fmla="*/ 0 h 444"/>
                <a:gd name="T8" fmla="*/ 541 w 543"/>
                <a:gd name="T9" fmla="*/ 0 h 444"/>
                <a:gd name="T10" fmla="*/ 543 w 543"/>
                <a:gd name="T11" fmla="*/ 4 h 444"/>
                <a:gd name="T12" fmla="*/ 342 w 543"/>
                <a:gd name="T13" fmla="*/ 154 h 444"/>
                <a:gd name="T14" fmla="*/ 342 w 543"/>
                <a:gd name="T15" fmla="*/ 158 h 444"/>
                <a:gd name="T16" fmla="*/ 446 w 543"/>
                <a:gd name="T17" fmla="*/ 158 h 444"/>
                <a:gd name="T18" fmla="*/ 448 w 543"/>
                <a:gd name="T19" fmla="*/ 163 h 444"/>
                <a:gd name="T20" fmla="*/ 274 w 543"/>
                <a:gd name="T21" fmla="*/ 293 h 444"/>
                <a:gd name="T22" fmla="*/ 275 w 543"/>
                <a:gd name="T23" fmla="*/ 297 h 444"/>
                <a:gd name="T24" fmla="*/ 304 w 543"/>
                <a:gd name="T25" fmla="*/ 299 h 444"/>
                <a:gd name="T26" fmla="*/ 305 w 543"/>
                <a:gd name="T27" fmla="*/ 302 h 444"/>
                <a:gd name="T28" fmla="*/ 3 w 543"/>
                <a:gd name="T29" fmla="*/ 444 h 444"/>
                <a:gd name="T30" fmla="*/ 0 w 543"/>
                <a:gd name="T31" fmla="*/ 441 h 444"/>
                <a:gd name="T32" fmla="*/ 86 w 543"/>
                <a:gd name="T33" fmla="*/ 299 h 444"/>
                <a:gd name="T34" fmla="*/ 97 w 543"/>
                <a:gd name="T35" fmla="*/ 298 h 444"/>
                <a:gd name="T36" fmla="*/ 196 w 543"/>
                <a:gd name="T37" fmla="*/ 260 h 444"/>
                <a:gd name="T38" fmla="*/ 263 w 543"/>
                <a:gd name="T39" fmla="*/ 203 h 444"/>
                <a:gd name="T40" fmla="*/ 261 w 543"/>
                <a:gd name="T41" fmla="*/ 198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3" h="444">
                  <a:moveTo>
                    <a:pt x="261" y="198"/>
                  </a:moveTo>
                  <a:cubicBezTo>
                    <a:pt x="225" y="198"/>
                    <a:pt x="188" y="198"/>
                    <a:pt x="152" y="198"/>
                  </a:cubicBezTo>
                  <a:cubicBezTo>
                    <a:pt x="151" y="196"/>
                    <a:pt x="151" y="194"/>
                    <a:pt x="150" y="193"/>
                  </a:cubicBezTo>
                  <a:cubicBezTo>
                    <a:pt x="228" y="128"/>
                    <a:pt x="306" y="64"/>
                    <a:pt x="384" y="0"/>
                  </a:cubicBezTo>
                  <a:cubicBezTo>
                    <a:pt x="437" y="0"/>
                    <a:pt x="489" y="0"/>
                    <a:pt x="541" y="0"/>
                  </a:cubicBezTo>
                  <a:cubicBezTo>
                    <a:pt x="542" y="1"/>
                    <a:pt x="542" y="2"/>
                    <a:pt x="543" y="4"/>
                  </a:cubicBezTo>
                  <a:cubicBezTo>
                    <a:pt x="476" y="54"/>
                    <a:pt x="409" y="104"/>
                    <a:pt x="342" y="154"/>
                  </a:cubicBezTo>
                  <a:cubicBezTo>
                    <a:pt x="342" y="155"/>
                    <a:pt x="342" y="156"/>
                    <a:pt x="342" y="158"/>
                  </a:cubicBezTo>
                  <a:cubicBezTo>
                    <a:pt x="377" y="158"/>
                    <a:pt x="411" y="158"/>
                    <a:pt x="446" y="158"/>
                  </a:cubicBezTo>
                  <a:cubicBezTo>
                    <a:pt x="447" y="160"/>
                    <a:pt x="447" y="162"/>
                    <a:pt x="448" y="163"/>
                  </a:cubicBezTo>
                  <a:cubicBezTo>
                    <a:pt x="390" y="207"/>
                    <a:pt x="332" y="250"/>
                    <a:pt x="274" y="293"/>
                  </a:cubicBezTo>
                  <a:cubicBezTo>
                    <a:pt x="274" y="294"/>
                    <a:pt x="275" y="296"/>
                    <a:pt x="275" y="297"/>
                  </a:cubicBezTo>
                  <a:cubicBezTo>
                    <a:pt x="285" y="298"/>
                    <a:pt x="294" y="298"/>
                    <a:pt x="304" y="299"/>
                  </a:cubicBezTo>
                  <a:cubicBezTo>
                    <a:pt x="304" y="300"/>
                    <a:pt x="305" y="301"/>
                    <a:pt x="305" y="302"/>
                  </a:cubicBezTo>
                  <a:cubicBezTo>
                    <a:pt x="204" y="350"/>
                    <a:pt x="104" y="397"/>
                    <a:pt x="3" y="444"/>
                  </a:cubicBezTo>
                  <a:cubicBezTo>
                    <a:pt x="2" y="443"/>
                    <a:pt x="1" y="442"/>
                    <a:pt x="0" y="441"/>
                  </a:cubicBezTo>
                  <a:cubicBezTo>
                    <a:pt x="29" y="394"/>
                    <a:pt x="58" y="346"/>
                    <a:pt x="86" y="299"/>
                  </a:cubicBezTo>
                  <a:cubicBezTo>
                    <a:pt x="91" y="299"/>
                    <a:pt x="94" y="298"/>
                    <a:pt x="97" y="298"/>
                  </a:cubicBezTo>
                  <a:cubicBezTo>
                    <a:pt x="138" y="306"/>
                    <a:pt x="169" y="288"/>
                    <a:pt x="196" y="260"/>
                  </a:cubicBezTo>
                  <a:cubicBezTo>
                    <a:pt x="217" y="239"/>
                    <a:pt x="240" y="222"/>
                    <a:pt x="263" y="203"/>
                  </a:cubicBezTo>
                  <a:cubicBezTo>
                    <a:pt x="262" y="201"/>
                    <a:pt x="261" y="199"/>
                    <a:pt x="261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7" name="Group 24"/>
          <p:cNvGrpSpPr>
            <a:grpSpLocks noChangeAspect="1"/>
          </p:cNvGrpSpPr>
          <p:nvPr/>
        </p:nvGrpSpPr>
        <p:grpSpPr bwMode="auto">
          <a:xfrm>
            <a:off x="7245488" y="4330499"/>
            <a:ext cx="905799" cy="481267"/>
            <a:chOff x="2418" y="1917"/>
            <a:chExt cx="926" cy="492"/>
          </a:xfrm>
          <a:solidFill>
            <a:schemeClr val="accent1"/>
          </a:solidFill>
        </p:grpSpPr>
        <p:sp>
          <p:nvSpPr>
            <p:cNvPr id="38" name="Freeform 25"/>
            <p:cNvSpPr>
              <a:spLocks noEditPoints="1"/>
            </p:cNvSpPr>
            <p:nvPr/>
          </p:nvSpPr>
          <p:spPr bwMode="auto">
            <a:xfrm>
              <a:off x="2418" y="1917"/>
              <a:ext cx="926" cy="492"/>
            </a:xfrm>
            <a:custGeom>
              <a:avLst/>
              <a:gdLst>
                <a:gd name="T0" fmla="*/ 196 w 392"/>
                <a:gd name="T1" fmla="*/ 0 h 208"/>
                <a:gd name="T2" fmla="*/ 0 w 392"/>
                <a:gd name="T3" fmla="*/ 196 h 208"/>
                <a:gd name="T4" fmla="*/ 0 w 392"/>
                <a:gd name="T5" fmla="*/ 208 h 208"/>
                <a:gd name="T6" fmla="*/ 392 w 392"/>
                <a:gd name="T7" fmla="*/ 208 h 208"/>
                <a:gd name="T8" fmla="*/ 392 w 392"/>
                <a:gd name="T9" fmla="*/ 196 h 208"/>
                <a:gd name="T10" fmla="*/ 196 w 392"/>
                <a:gd name="T11" fmla="*/ 0 h 208"/>
                <a:gd name="T12" fmla="*/ 236 w 392"/>
                <a:gd name="T13" fmla="*/ 185 h 208"/>
                <a:gd name="T14" fmla="*/ 223 w 392"/>
                <a:gd name="T15" fmla="*/ 160 h 208"/>
                <a:gd name="T16" fmla="*/ 265 w 392"/>
                <a:gd name="T17" fmla="*/ 52 h 208"/>
                <a:gd name="T18" fmla="*/ 199 w 392"/>
                <a:gd name="T19" fmla="*/ 150 h 208"/>
                <a:gd name="T20" fmla="*/ 196 w 392"/>
                <a:gd name="T21" fmla="*/ 150 h 208"/>
                <a:gd name="T22" fmla="*/ 156 w 392"/>
                <a:gd name="T23" fmla="*/ 185 h 208"/>
                <a:gd name="T24" fmla="*/ 23 w 392"/>
                <a:gd name="T25" fmla="*/ 185 h 208"/>
                <a:gd name="T26" fmla="*/ 196 w 392"/>
                <a:gd name="T27" fmla="*/ 23 h 208"/>
                <a:gd name="T28" fmla="*/ 369 w 392"/>
                <a:gd name="T29" fmla="*/ 185 h 208"/>
                <a:gd name="T30" fmla="*/ 236 w 392"/>
                <a:gd name="T31" fmla="*/ 18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2" h="208">
                  <a:moveTo>
                    <a:pt x="196" y="0"/>
                  </a:moveTo>
                  <a:cubicBezTo>
                    <a:pt x="88" y="0"/>
                    <a:pt x="0" y="88"/>
                    <a:pt x="0" y="196"/>
                  </a:cubicBezTo>
                  <a:cubicBezTo>
                    <a:pt x="0" y="208"/>
                    <a:pt x="0" y="208"/>
                    <a:pt x="0" y="208"/>
                  </a:cubicBezTo>
                  <a:cubicBezTo>
                    <a:pt x="392" y="208"/>
                    <a:pt x="392" y="208"/>
                    <a:pt x="392" y="208"/>
                  </a:cubicBezTo>
                  <a:cubicBezTo>
                    <a:pt x="392" y="196"/>
                    <a:pt x="392" y="196"/>
                    <a:pt x="392" y="196"/>
                  </a:cubicBezTo>
                  <a:cubicBezTo>
                    <a:pt x="392" y="88"/>
                    <a:pt x="304" y="0"/>
                    <a:pt x="196" y="0"/>
                  </a:cubicBezTo>
                  <a:close/>
                  <a:moveTo>
                    <a:pt x="236" y="185"/>
                  </a:moveTo>
                  <a:cubicBezTo>
                    <a:pt x="235" y="175"/>
                    <a:pt x="230" y="167"/>
                    <a:pt x="223" y="160"/>
                  </a:cubicBezTo>
                  <a:cubicBezTo>
                    <a:pt x="265" y="52"/>
                    <a:pt x="265" y="52"/>
                    <a:pt x="265" y="52"/>
                  </a:cubicBezTo>
                  <a:cubicBezTo>
                    <a:pt x="199" y="150"/>
                    <a:pt x="199" y="150"/>
                    <a:pt x="199" y="150"/>
                  </a:cubicBezTo>
                  <a:cubicBezTo>
                    <a:pt x="198" y="150"/>
                    <a:pt x="197" y="150"/>
                    <a:pt x="196" y="150"/>
                  </a:cubicBezTo>
                  <a:cubicBezTo>
                    <a:pt x="175" y="150"/>
                    <a:pt x="158" y="165"/>
                    <a:pt x="156" y="185"/>
                  </a:cubicBezTo>
                  <a:cubicBezTo>
                    <a:pt x="23" y="185"/>
                    <a:pt x="23" y="185"/>
                    <a:pt x="23" y="185"/>
                  </a:cubicBezTo>
                  <a:cubicBezTo>
                    <a:pt x="29" y="95"/>
                    <a:pt x="104" y="23"/>
                    <a:pt x="196" y="23"/>
                  </a:cubicBezTo>
                  <a:cubicBezTo>
                    <a:pt x="288" y="23"/>
                    <a:pt x="363" y="95"/>
                    <a:pt x="369" y="185"/>
                  </a:cubicBezTo>
                  <a:lnTo>
                    <a:pt x="236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26"/>
            <p:cNvSpPr>
              <a:spLocks/>
            </p:cNvSpPr>
            <p:nvPr/>
          </p:nvSpPr>
          <p:spPr bwMode="auto">
            <a:xfrm>
              <a:off x="2546" y="2217"/>
              <a:ext cx="90" cy="62"/>
            </a:xfrm>
            <a:custGeom>
              <a:avLst/>
              <a:gdLst>
                <a:gd name="T0" fmla="*/ 32 w 38"/>
                <a:gd name="T1" fmla="*/ 10 h 26"/>
                <a:gd name="T2" fmla="*/ 13 w 38"/>
                <a:gd name="T3" fmla="*/ 2 h 26"/>
                <a:gd name="T4" fmla="*/ 2 w 38"/>
                <a:gd name="T5" fmla="*/ 6 h 26"/>
                <a:gd name="T6" fmla="*/ 6 w 38"/>
                <a:gd name="T7" fmla="*/ 17 h 26"/>
                <a:gd name="T8" fmla="*/ 25 w 38"/>
                <a:gd name="T9" fmla="*/ 26 h 26"/>
                <a:gd name="T10" fmla="*/ 28 w 38"/>
                <a:gd name="T11" fmla="*/ 26 h 26"/>
                <a:gd name="T12" fmla="*/ 36 w 38"/>
                <a:gd name="T13" fmla="*/ 21 h 26"/>
                <a:gd name="T14" fmla="*/ 32 w 38"/>
                <a:gd name="T15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6">
                  <a:moveTo>
                    <a:pt x="32" y="10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9" y="0"/>
                    <a:pt x="4" y="2"/>
                    <a:pt x="2" y="6"/>
                  </a:cubicBezTo>
                  <a:cubicBezTo>
                    <a:pt x="0" y="11"/>
                    <a:pt x="2" y="16"/>
                    <a:pt x="6" y="17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6" y="26"/>
                    <a:pt x="27" y="26"/>
                    <a:pt x="28" y="26"/>
                  </a:cubicBezTo>
                  <a:cubicBezTo>
                    <a:pt x="32" y="26"/>
                    <a:pt x="35" y="24"/>
                    <a:pt x="36" y="21"/>
                  </a:cubicBezTo>
                  <a:cubicBezTo>
                    <a:pt x="38" y="17"/>
                    <a:pt x="36" y="12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27"/>
            <p:cNvSpPr>
              <a:spLocks/>
            </p:cNvSpPr>
            <p:nvPr/>
          </p:nvSpPr>
          <p:spPr bwMode="auto">
            <a:xfrm>
              <a:off x="2640" y="2090"/>
              <a:ext cx="76" cy="80"/>
            </a:xfrm>
            <a:custGeom>
              <a:avLst/>
              <a:gdLst>
                <a:gd name="T0" fmla="*/ 16 w 32"/>
                <a:gd name="T1" fmla="*/ 4 h 34"/>
                <a:gd name="T2" fmla="*/ 4 w 32"/>
                <a:gd name="T3" fmla="*/ 3 h 34"/>
                <a:gd name="T4" fmla="*/ 3 w 32"/>
                <a:gd name="T5" fmla="*/ 15 h 34"/>
                <a:gd name="T6" fmla="*/ 16 w 32"/>
                <a:gd name="T7" fmla="*/ 31 h 34"/>
                <a:gd name="T8" fmla="*/ 23 w 32"/>
                <a:gd name="T9" fmla="*/ 34 h 34"/>
                <a:gd name="T10" fmla="*/ 28 w 32"/>
                <a:gd name="T11" fmla="*/ 32 h 34"/>
                <a:gd name="T12" fmla="*/ 29 w 32"/>
                <a:gd name="T13" fmla="*/ 20 h 34"/>
                <a:gd name="T14" fmla="*/ 16 w 32"/>
                <a:gd name="T15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4">
                  <a:moveTo>
                    <a:pt x="16" y="4"/>
                  </a:moveTo>
                  <a:cubicBezTo>
                    <a:pt x="13" y="1"/>
                    <a:pt x="8" y="0"/>
                    <a:pt x="4" y="3"/>
                  </a:cubicBezTo>
                  <a:cubicBezTo>
                    <a:pt x="0" y="6"/>
                    <a:pt x="0" y="12"/>
                    <a:pt x="3" y="15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8" y="33"/>
                    <a:pt x="20" y="34"/>
                    <a:pt x="23" y="34"/>
                  </a:cubicBezTo>
                  <a:cubicBezTo>
                    <a:pt x="24" y="34"/>
                    <a:pt x="26" y="34"/>
                    <a:pt x="28" y="32"/>
                  </a:cubicBezTo>
                  <a:cubicBezTo>
                    <a:pt x="32" y="29"/>
                    <a:pt x="32" y="24"/>
                    <a:pt x="29" y="20"/>
                  </a:cubicBezTo>
                  <a:lnTo>
                    <a:pt x="1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28"/>
            <p:cNvSpPr>
              <a:spLocks/>
            </p:cNvSpPr>
            <p:nvPr/>
          </p:nvSpPr>
          <p:spPr bwMode="auto">
            <a:xfrm>
              <a:off x="2782" y="2021"/>
              <a:ext cx="54" cy="88"/>
            </a:xfrm>
            <a:custGeom>
              <a:avLst/>
              <a:gdLst>
                <a:gd name="T0" fmla="*/ 18 w 23"/>
                <a:gd name="T1" fmla="*/ 7 h 37"/>
                <a:gd name="T2" fmla="*/ 8 w 23"/>
                <a:gd name="T3" fmla="*/ 1 h 37"/>
                <a:gd name="T4" fmla="*/ 1 w 23"/>
                <a:gd name="T5" fmla="*/ 11 h 37"/>
                <a:gd name="T6" fmla="*/ 6 w 23"/>
                <a:gd name="T7" fmla="*/ 31 h 37"/>
                <a:gd name="T8" fmla="*/ 14 w 23"/>
                <a:gd name="T9" fmla="*/ 37 h 37"/>
                <a:gd name="T10" fmla="*/ 16 w 23"/>
                <a:gd name="T11" fmla="*/ 37 h 37"/>
                <a:gd name="T12" fmla="*/ 22 w 23"/>
                <a:gd name="T13" fmla="*/ 27 h 37"/>
                <a:gd name="T14" fmla="*/ 18 w 23"/>
                <a:gd name="T15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37">
                  <a:moveTo>
                    <a:pt x="18" y="7"/>
                  </a:moveTo>
                  <a:cubicBezTo>
                    <a:pt x="17" y="2"/>
                    <a:pt x="12" y="0"/>
                    <a:pt x="8" y="1"/>
                  </a:cubicBezTo>
                  <a:cubicBezTo>
                    <a:pt x="3" y="2"/>
                    <a:pt x="0" y="6"/>
                    <a:pt x="1" y="1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5"/>
                    <a:pt x="10" y="37"/>
                    <a:pt x="14" y="37"/>
                  </a:cubicBezTo>
                  <a:cubicBezTo>
                    <a:pt x="14" y="37"/>
                    <a:pt x="15" y="37"/>
                    <a:pt x="16" y="37"/>
                  </a:cubicBezTo>
                  <a:cubicBezTo>
                    <a:pt x="20" y="36"/>
                    <a:pt x="23" y="32"/>
                    <a:pt x="22" y="27"/>
                  </a:cubicBezTo>
                  <a:lnTo>
                    <a:pt x="1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29"/>
            <p:cNvSpPr>
              <a:spLocks/>
            </p:cNvSpPr>
            <p:nvPr/>
          </p:nvSpPr>
          <p:spPr bwMode="auto">
            <a:xfrm>
              <a:off x="2928" y="2021"/>
              <a:ext cx="57" cy="90"/>
            </a:xfrm>
            <a:custGeom>
              <a:avLst/>
              <a:gdLst>
                <a:gd name="T0" fmla="*/ 16 w 24"/>
                <a:gd name="T1" fmla="*/ 1 h 38"/>
                <a:gd name="T2" fmla="*/ 6 w 24"/>
                <a:gd name="T3" fmla="*/ 7 h 38"/>
                <a:gd name="T4" fmla="*/ 1 w 24"/>
                <a:gd name="T5" fmla="*/ 27 h 38"/>
                <a:gd name="T6" fmla="*/ 7 w 24"/>
                <a:gd name="T7" fmla="*/ 37 h 38"/>
                <a:gd name="T8" fmla="*/ 9 w 24"/>
                <a:gd name="T9" fmla="*/ 38 h 38"/>
                <a:gd name="T10" fmla="*/ 18 w 24"/>
                <a:gd name="T11" fmla="*/ 31 h 38"/>
                <a:gd name="T12" fmla="*/ 23 w 24"/>
                <a:gd name="T13" fmla="*/ 11 h 38"/>
                <a:gd name="T14" fmla="*/ 16 w 24"/>
                <a:gd name="T1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38">
                  <a:moveTo>
                    <a:pt x="16" y="1"/>
                  </a:moveTo>
                  <a:cubicBezTo>
                    <a:pt x="12" y="0"/>
                    <a:pt x="7" y="3"/>
                    <a:pt x="6" y="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32"/>
                    <a:pt x="3" y="36"/>
                    <a:pt x="7" y="37"/>
                  </a:cubicBezTo>
                  <a:cubicBezTo>
                    <a:pt x="8" y="38"/>
                    <a:pt x="9" y="38"/>
                    <a:pt x="9" y="38"/>
                  </a:cubicBezTo>
                  <a:cubicBezTo>
                    <a:pt x="13" y="38"/>
                    <a:pt x="17" y="35"/>
                    <a:pt x="18" y="3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7"/>
                    <a:pt x="21" y="2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0"/>
            <p:cNvSpPr>
              <a:spLocks/>
            </p:cNvSpPr>
            <p:nvPr/>
          </p:nvSpPr>
          <p:spPr bwMode="auto">
            <a:xfrm>
              <a:off x="3049" y="2092"/>
              <a:ext cx="75" cy="80"/>
            </a:xfrm>
            <a:custGeom>
              <a:avLst/>
              <a:gdLst>
                <a:gd name="T0" fmla="*/ 17 w 32"/>
                <a:gd name="T1" fmla="*/ 4 h 34"/>
                <a:gd name="T2" fmla="*/ 3 w 32"/>
                <a:gd name="T3" fmla="*/ 20 h 34"/>
                <a:gd name="T4" fmla="*/ 4 w 32"/>
                <a:gd name="T5" fmla="*/ 32 h 34"/>
                <a:gd name="T6" fmla="*/ 9 w 32"/>
                <a:gd name="T7" fmla="*/ 34 h 34"/>
                <a:gd name="T8" fmla="*/ 16 w 32"/>
                <a:gd name="T9" fmla="*/ 31 h 34"/>
                <a:gd name="T10" fmla="*/ 29 w 32"/>
                <a:gd name="T11" fmla="*/ 16 h 34"/>
                <a:gd name="T12" fmla="*/ 29 w 32"/>
                <a:gd name="T13" fmla="*/ 4 h 34"/>
                <a:gd name="T14" fmla="*/ 17 w 32"/>
                <a:gd name="T15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4">
                  <a:moveTo>
                    <a:pt x="17" y="4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0" y="23"/>
                    <a:pt x="0" y="29"/>
                    <a:pt x="4" y="32"/>
                  </a:cubicBezTo>
                  <a:cubicBezTo>
                    <a:pt x="5" y="33"/>
                    <a:pt x="7" y="34"/>
                    <a:pt x="9" y="34"/>
                  </a:cubicBezTo>
                  <a:cubicBezTo>
                    <a:pt x="12" y="34"/>
                    <a:pt x="14" y="33"/>
                    <a:pt x="16" y="31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32" y="12"/>
                    <a:pt x="32" y="7"/>
                    <a:pt x="29" y="4"/>
                  </a:cubicBezTo>
                  <a:cubicBezTo>
                    <a:pt x="25" y="0"/>
                    <a:pt x="20" y="1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31"/>
            <p:cNvSpPr>
              <a:spLocks/>
            </p:cNvSpPr>
            <p:nvPr/>
          </p:nvSpPr>
          <p:spPr bwMode="auto">
            <a:xfrm>
              <a:off x="3129" y="2222"/>
              <a:ext cx="90" cy="59"/>
            </a:xfrm>
            <a:custGeom>
              <a:avLst/>
              <a:gdLst>
                <a:gd name="T0" fmla="*/ 1 w 38"/>
                <a:gd name="T1" fmla="*/ 20 h 25"/>
                <a:gd name="T2" fmla="*/ 9 w 38"/>
                <a:gd name="T3" fmla="*/ 25 h 25"/>
                <a:gd name="T4" fmla="*/ 12 w 38"/>
                <a:gd name="T5" fmla="*/ 25 h 25"/>
                <a:gd name="T6" fmla="*/ 31 w 38"/>
                <a:gd name="T7" fmla="*/ 17 h 25"/>
                <a:gd name="T8" fmla="*/ 36 w 38"/>
                <a:gd name="T9" fmla="*/ 6 h 25"/>
                <a:gd name="T10" fmla="*/ 25 w 38"/>
                <a:gd name="T11" fmla="*/ 1 h 25"/>
                <a:gd name="T12" fmla="*/ 6 w 38"/>
                <a:gd name="T13" fmla="*/ 9 h 25"/>
                <a:gd name="T14" fmla="*/ 1 w 38"/>
                <a:gd name="T1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25">
                  <a:moveTo>
                    <a:pt x="1" y="20"/>
                  </a:moveTo>
                  <a:cubicBezTo>
                    <a:pt x="3" y="23"/>
                    <a:pt x="6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6" y="15"/>
                    <a:pt x="38" y="10"/>
                    <a:pt x="36" y="6"/>
                  </a:cubicBezTo>
                  <a:cubicBezTo>
                    <a:pt x="34" y="2"/>
                    <a:pt x="29" y="0"/>
                    <a:pt x="25" y="1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2" y="11"/>
                    <a:pt x="0" y="16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138180" y="4162681"/>
            <a:ext cx="951744" cy="761803"/>
            <a:chOff x="4271963" y="-2019301"/>
            <a:chExt cx="3706812" cy="2967038"/>
          </a:xfrm>
          <a:solidFill>
            <a:schemeClr val="accent1"/>
          </a:solidFill>
        </p:grpSpPr>
        <p:sp>
          <p:nvSpPr>
            <p:cNvPr id="46" name="Freeform 41"/>
            <p:cNvSpPr>
              <a:spLocks noEditPoints="1"/>
            </p:cNvSpPr>
            <p:nvPr/>
          </p:nvSpPr>
          <p:spPr bwMode="auto">
            <a:xfrm>
              <a:off x="4271963" y="-2019301"/>
              <a:ext cx="3246437" cy="2967038"/>
            </a:xfrm>
            <a:custGeom>
              <a:avLst/>
              <a:gdLst>
                <a:gd name="T0" fmla="*/ 445 w 866"/>
                <a:gd name="T1" fmla="*/ 561 h 791"/>
                <a:gd name="T2" fmla="*/ 446 w 866"/>
                <a:gd name="T3" fmla="*/ 565 h 791"/>
                <a:gd name="T4" fmla="*/ 433 w 866"/>
                <a:gd name="T5" fmla="*/ 655 h 791"/>
                <a:gd name="T6" fmla="*/ 318 w 866"/>
                <a:gd name="T7" fmla="*/ 776 h 791"/>
                <a:gd name="T8" fmla="*/ 284 w 866"/>
                <a:gd name="T9" fmla="*/ 785 h 791"/>
                <a:gd name="T10" fmla="*/ 97 w 866"/>
                <a:gd name="T11" fmla="*/ 678 h 791"/>
                <a:gd name="T12" fmla="*/ 16 w 866"/>
                <a:gd name="T13" fmla="*/ 583 h 791"/>
                <a:gd name="T14" fmla="*/ 22 w 866"/>
                <a:gd name="T15" fmla="*/ 535 h 791"/>
                <a:gd name="T16" fmla="*/ 197 w 866"/>
                <a:gd name="T17" fmla="*/ 370 h 791"/>
                <a:gd name="T18" fmla="*/ 204 w 866"/>
                <a:gd name="T19" fmla="*/ 275 h 791"/>
                <a:gd name="T20" fmla="*/ 271 w 866"/>
                <a:gd name="T21" fmla="*/ 211 h 791"/>
                <a:gd name="T22" fmla="*/ 365 w 866"/>
                <a:gd name="T23" fmla="*/ 201 h 791"/>
                <a:gd name="T24" fmla="*/ 394 w 866"/>
                <a:gd name="T25" fmla="*/ 191 h 791"/>
                <a:gd name="T26" fmla="*/ 646 w 866"/>
                <a:gd name="T27" fmla="*/ 32 h 791"/>
                <a:gd name="T28" fmla="*/ 721 w 866"/>
                <a:gd name="T29" fmla="*/ 5 h 791"/>
                <a:gd name="T30" fmla="*/ 781 w 866"/>
                <a:gd name="T31" fmla="*/ 26 h 791"/>
                <a:gd name="T32" fmla="*/ 853 w 866"/>
                <a:gd name="T33" fmla="*/ 111 h 791"/>
                <a:gd name="T34" fmla="*/ 850 w 866"/>
                <a:gd name="T35" fmla="*/ 155 h 791"/>
                <a:gd name="T36" fmla="*/ 593 w 866"/>
                <a:gd name="T37" fmla="*/ 438 h 791"/>
                <a:gd name="T38" fmla="*/ 529 w 866"/>
                <a:gd name="T39" fmla="*/ 480 h 791"/>
                <a:gd name="T40" fmla="*/ 445 w 866"/>
                <a:gd name="T41" fmla="*/ 561 h 791"/>
                <a:gd name="T42" fmla="*/ 63 w 866"/>
                <a:gd name="T43" fmla="*/ 566 h 791"/>
                <a:gd name="T44" fmla="*/ 291 w 866"/>
                <a:gd name="T45" fmla="*/ 732 h 791"/>
                <a:gd name="T46" fmla="*/ 412 w 866"/>
                <a:gd name="T47" fmla="*/ 605 h 791"/>
                <a:gd name="T48" fmla="*/ 393 w 866"/>
                <a:gd name="T49" fmla="*/ 571 h 791"/>
                <a:gd name="T50" fmla="*/ 393 w 866"/>
                <a:gd name="T51" fmla="*/ 547 h 791"/>
                <a:gd name="T52" fmla="*/ 491 w 866"/>
                <a:gd name="T53" fmla="*/ 445 h 791"/>
                <a:gd name="T54" fmla="*/ 563 w 866"/>
                <a:gd name="T55" fmla="*/ 397 h 791"/>
                <a:gd name="T56" fmla="*/ 705 w 866"/>
                <a:gd name="T57" fmla="*/ 242 h 791"/>
                <a:gd name="T58" fmla="*/ 807 w 866"/>
                <a:gd name="T59" fmla="*/ 128 h 791"/>
                <a:gd name="T60" fmla="*/ 764 w 866"/>
                <a:gd name="T61" fmla="*/ 79 h 791"/>
                <a:gd name="T62" fmla="*/ 685 w 866"/>
                <a:gd name="T63" fmla="*/ 65 h 791"/>
                <a:gd name="T64" fmla="*/ 669 w 866"/>
                <a:gd name="T65" fmla="*/ 75 h 791"/>
                <a:gd name="T66" fmla="*/ 425 w 866"/>
                <a:gd name="T67" fmla="*/ 231 h 791"/>
                <a:gd name="T68" fmla="*/ 358 w 866"/>
                <a:gd name="T69" fmla="*/ 252 h 791"/>
                <a:gd name="T70" fmla="*/ 262 w 866"/>
                <a:gd name="T71" fmla="*/ 261 h 791"/>
                <a:gd name="T72" fmla="*/ 250 w 866"/>
                <a:gd name="T73" fmla="*/ 358 h 791"/>
                <a:gd name="T74" fmla="*/ 234 w 866"/>
                <a:gd name="T75" fmla="*/ 404 h 791"/>
                <a:gd name="T76" fmla="*/ 173 w 866"/>
                <a:gd name="T77" fmla="*/ 462 h 791"/>
                <a:gd name="T78" fmla="*/ 63 w 866"/>
                <a:gd name="T79" fmla="*/ 566 h 7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6" h="791">
                  <a:moveTo>
                    <a:pt x="445" y="561"/>
                  </a:moveTo>
                  <a:cubicBezTo>
                    <a:pt x="445" y="562"/>
                    <a:pt x="446" y="564"/>
                    <a:pt x="446" y="565"/>
                  </a:cubicBezTo>
                  <a:cubicBezTo>
                    <a:pt x="473" y="613"/>
                    <a:pt x="481" y="606"/>
                    <a:pt x="433" y="655"/>
                  </a:cubicBezTo>
                  <a:cubicBezTo>
                    <a:pt x="394" y="695"/>
                    <a:pt x="356" y="736"/>
                    <a:pt x="318" y="776"/>
                  </a:cubicBezTo>
                  <a:cubicBezTo>
                    <a:pt x="308" y="787"/>
                    <a:pt x="297" y="791"/>
                    <a:pt x="284" y="785"/>
                  </a:cubicBezTo>
                  <a:cubicBezTo>
                    <a:pt x="220" y="752"/>
                    <a:pt x="151" y="727"/>
                    <a:pt x="97" y="678"/>
                  </a:cubicBezTo>
                  <a:cubicBezTo>
                    <a:pt x="67" y="651"/>
                    <a:pt x="41" y="617"/>
                    <a:pt x="16" y="583"/>
                  </a:cubicBezTo>
                  <a:cubicBezTo>
                    <a:pt x="0" y="562"/>
                    <a:pt x="3" y="553"/>
                    <a:pt x="22" y="535"/>
                  </a:cubicBezTo>
                  <a:cubicBezTo>
                    <a:pt x="81" y="479"/>
                    <a:pt x="140" y="424"/>
                    <a:pt x="197" y="370"/>
                  </a:cubicBezTo>
                  <a:cubicBezTo>
                    <a:pt x="199" y="336"/>
                    <a:pt x="199" y="305"/>
                    <a:pt x="204" y="275"/>
                  </a:cubicBezTo>
                  <a:cubicBezTo>
                    <a:pt x="212" y="231"/>
                    <a:pt x="228" y="217"/>
                    <a:pt x="271" y="211"/>
                  </a:cubicBezTo>
                  <a:cubicBezTo>
                    <a:pt x="302" y="206"/>
                    <a:pt x="333" y="205"/>
                    <a:pt x="365" y="201"/>
                  </a:cubicBezTo>
                  <a:cubicBezTo>
                    <a:pt x="375" y="200"/>
                    <a:pt x="385" y="197"/>
                    <a:pt x="394" y="191"/>
                  </a:cubicBezTo>
                  <a:cubicBezTo>
                    <a:pt x="478" y="138"/>
                    <a:pt x="561" y="84"/>
                    <a:pt x="646" y="32"/>
                  </a:cubicBezTo>
                  <a:cubicBezTo>
                    <a:pt x="668" y="18"/>
                    <a:pt x="695" y="10"/>
                    <a:pt x="721" y="5"/>
                  </a:cubicBezTo>
                  <a:cubicBezTo>
                    <a:pt x="743" y="0"/>
                    <a:pt x="765" y="8"/>
                    <a:pt x="781" y="26"/>
                  </a:cubicBezTo>
                  <a:cubicBezTo>
                    <a:pt x="806" y="54"/>
                    <a:pt x="830" y="82"/>
                    <a:pt x="853" y="111"/>
                  </a:cubicBezTo>
                  <a:cubicBezTo>
                    <a:pt x="866" y="126"/>
                    <a:pt x="864" y="140"/>
                    <a:pt x="850" y="155"/>
                  </a:cubicBezTo>
                  <a:cubicBezTo>
                    <a:pt x="764" y="249"/>
                    <a:pt x="680" y="345"/>
                    <a:pt x="593" y="438"/>
                  </a:cubicBezTo>
                  <a:cubicBezTo>
                    <a:pt x="576" y="456"/>
                    <a:pt x="552" y="470"/>
                    <a:pt x="529" y="480"/>
                  </a:cubicBezTo>
                  <a:cubicBezTo>
                    <a:pt x="492" y="498"/>
                    <a:pt x="465" y="524"/>
                    <a:pt x="445" y="561"/>
                  </a:cubicBezTo>
                  <a:close/>
                  <a:moveTo>
                    <a:pt x="63" y="566"/>
                  </a:moveTo>
                  <a:cubicBezTo>
                    <a:pt x="116" y="655"/>
                    <a:pt x="206" y="690"/>
                    <a:pt x="291" y="732"/>
                  </a:cubicBezTo>
                  <a:cubicBezTo>
                    <a:pt x="332" y="689"/>
                    <a:pt x="372" y="648"/>
                    <a:pt x="412" y="605"/>
                  </a:cubicBezTo>
                  <a:cubicBezTo>
                    <a:pt x="405" y="593"/>
                    <a:pt x="398" y="583"/>
                    <a:pt x="393" y="571"/>
                  </a:cubicBezTo>
                  <a:cubicBezTo>
                    <a:pt x="391" y="564"/>
                    <a:pt x="389" y="552"/>
                    <a:pt x="393" y="547"/>
                  </a:cubicBezTo>
                  <a:cubicBezTo>
                    <a:pt x="421" y="509"/>
                    <a:pt x="443" y="466"/>
                    <a:pt x="491" y="445"/>
                  </a:cubicBezTo>
                  <a:cubicBezTo>
                    <a:pt x="517" y="433"/>
                    <a:pt x="543" y="417"/>
                    <a:pt x="563" y="397"/>
                  </a:cubicBezTo>
                  <a:cubicBezTo>
                    <a:pt x="612" y="347"/>
                    <a:pt x="658" y="294"/>
                    <a:pt x="705" y="242"/>
                  </a:cubicBezTo>
                  <a:cubicBezTo>
                    <a:pt x="738" y="205"/>
                    <a:pt x="772" y="167"/>
                    <a:pt x="807" y="128"/>
                  </a:cubicBezTo>
                  <a:cubicBezTo>
                    <a:pt x="792" y="111"/>
                    <a:pt x="779" y="94"/>
                    <a:pt x="764" y="79"/>
                  </a:cubicBezTo>
                  <a:cubicBezTo>
                    <a:pt x="735" y="47"/>
                    <a:pt x="723" y="45"/>
                    <a:pt x="685" y="65"/>
                  </a:cubicBezTo>
                  <a:cubicBezTo>
                    <a:pt x="679" y="68"/>
                    <a:pt x="674" y="72"/>
                    <a:pt x="669" y="75"/>
                  </a:cubicBezTo>
                  <a:cubicBezTo>
                    <a:pt x="588" y="127"/>
                    <a:pt x="506" y="178"/>
                    <a:pt x="425" y="231"/>
                  </a:cubicBezTo>
                  <a:cubicBezTo>
                    <a:pt x="404" y="244"/>
                    <a:pt x="383" y="251"/>
                    <a:pt x="358" y="252"/>
                  </a:cubicBezTo>
                  <a:cubicBezTo>
                    <a:pt x="326" y="253"/>
                    <a:pt x="294" y="258"/>
                    <a:pt x="262" y="261"/>
                  </a:cubicBezTo>
                  <a:cubicBezTo>
                    <a:pt x="244" y="293"/>
                    <a:pt x="245" y="326"/>
                    <a:pt x="250" y="358"/>
                  </a:cubicBezTo>
                  <a:cubicBezTo>
                    <a:pt x="253" y="378"/>
                    <a:pt x="248" y="392"/>
                    <a:pt x="234" y="404"/>
                  </a:cubicBezTo>
                  <a:cubicBezTo>
                    <a:pt x="213" y="423"/>
                    <a:pt x="193" y="442"/>
                    <a:pt x="173" y="462"/>
                  </a:cubicBezTo>
                  <a:cubicBezTo>
                    <a:pt x="136" y="496"/>
                    <a:pt x="99" y="531"/>
                    <a:pt x="63" y="5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42"/>
            <p:cNvSpPr>
              <a:spLocks/>
            </p:cNvSpPr>
            <p:nvPr/>
          </p:nvSpPr>
          <p:spPr bwMode="auto">
            <a:xfrm>
              <a:off x="6667500" y="-1460500"/>
              <a:ext cx="1311275" cy="1403350"/>
            </a:xfrm>
            <a:custGeom>
              <a:avLst/>
              <a:gdLst>
                <a:gd name="T0" fmla="*/ 264 w 350"/>
                <a:gd name="T1" fmla="*/ 0 h 374"/>
                <a:gd name="T2" fmla="*/ 350 w 350"/>
                <a:gd name="T3" fmla="*/ 77 h 374"/>
                <a:gd name="T4" fmla="*/ 87 w 350"/>
                <a:gd name="T5" fmla="*/ 374 h 374"/>
                <a:gd name="T6" fmla="*/ 0 w 350"/>
                <a:gd name="T7" fmla="*/ 297 h 374"/>
                <a:gd name="T8" fmla="*/ 264 w 350"/>
                <a:gd name="T9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74">
                  <a:moveTo>
                    <a:pt x="264" y="0"/>
                  </a:moveTo>
                  <a:cubicBezTo>
                    <a:pt x="293" y="26"/>
                    <a:pt x="321" y="51"/>
                    <a:pt x="350" y="77"/>
                  </a:cubicBezTo>
                  <a:cubicBezTo>
                    <a:pt x="262" y="176"/>
                    <a:pt x="175" y="274"/>
                    <a:pt x="87" y="374"/>
                  </a:cubicBezTo>
                  <a:cubicBezTo>
                    <a:pt x="58" y="348"/>
                    <a:pt x="30" y="323"/>
                    <a:pt x="0" y="297"/>
                  </a:cubicBezTo>
                  <a:cubicBezTo>
                    <a:pt x="88" y="198"/>
                    <a:pt x="175" y="99"/>
                    <a:pt x="2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8" name="Rectangle 47"/>
          <p:cNvSpPr/>
          <p:nvPr/>
        </p:nvSpPr>
        <p:spPr>
          <a:xfrm>
            <a:off x="491731" y="3493488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eatbelt not worn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565107" y="3539208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Vehicle Stopped </a:t>
            </a:r>
            <a:r>
              <a:rPr lang="en-GB" sz="1200" dirty="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 gear for </a:t>
            </a: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more than 1 minute 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645834" y="3493488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ABS warning light</a:t>
            </a:r>
          </a:p>
        </p:txBody>
      </p:sp>
      <p:sp>
        <p:nvSpPr>
          <p:cNvPr id="51" name="Rectangle 50"/>
          <p:cNvSpPr/>
          <p:nvPr/>
        </p:nvSpPr>
        <p:spPr>
          <a:xfrm>
            <a:off x="6732240" y="3493488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Drive with shift up indication on more then </a:t>
            </a:r>
            <a:r>
              <a:rPr lang="en-GB" sz="1200" dirty="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30 </a:t>
            </a: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e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91731" y="5019597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High fuel consumption RPM above 3000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565107" y="5019597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Driving with red warning light active</a:t>
            </a:r>
          </a:p>
        </p:txBody>
      </p:sp>
      <p:sp>
        <p:nvSpPr>
          <p:cNvPr id="54" name="Rectangle 53"/>
          <p:cNvSpPr/>
          <p:nvPr/>
        </p:nvSpPr>
        <p:spPr>
          <a:xfrm>
            <a:off x="4645834" y="5019597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hort time between accelerator and brake pedal</a:t>
            </a:r>
            <a:endParaRPr lang="en-GB" sz="1200" dirty="0">
              <a:solidFill>
                <a:schemeClr val="bg1"/>
              </a:solidFill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732240" y="5019597"/>
            <a:ext cx="1919063" cy="46166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lvl="0" algn="ctr">
              <a:lnSpc>
                <a:spcPct val="80000"/>
              </a:lnSpc>
            </a:pPr>
            <a:r>
              <a:rPr lang="en-GB" sz="1200" dirty="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Clutch pressed for over 15 </a:t>
            </a:r>
            <a:r>
              <a:rPr lang="en-GB" sz="1200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sec </a:t>
            </a:r>
            <a:r>
              <a:rPr lang="en-GB" sz="1200" dirty="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with speed over 30MPH</a:t>
            </a:r>
            <a:endParaRPr lang="en-GB" sz="1200" dirty="0">
              <a:solidFill>
                <a:schemeClr val="bg1"/>
              </a:solidFill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/>
          </p:nvPr>
        </p:nvSpPr>
        <p:spPr>
          <a:xfrm>
            <a:off x="508000" y="228600"/>
            <a:ext cx="8102600" cy="990600"/>
          </a:xfrm>
        </p:spPr>
        <p:txBody>
          <a:bodyPr/>
          <a:lstStyle/>
          <a:p>
            <a:r>
              <a:rPr lang="en-US" sz="3600" b="1" dirty="0" smtClean="0">
                <a:latin typeface="Calibri" panose="020F0502020204030204" pitchFamily="34" charset="0"/>
              </a:rPr>
              <a:t>CAN BUS – </a:t>
            </a:r>
            <a:r>
              <a:rPr lang="el-GR" sz="3600" b="1" dirty="0" smtClean="0">
                <a:latin typeface="Calibri" panose="020F0502020204030204" pitchFamily="34" charset="0"/>
              </a:rPr>
              <a:t>Ο εγκέφαλος του οχήματος</a:t>
            </a:r>
            <a:endParaRPr lang="el-GR" b="1" dirty="0">
              <a:latin typeface="Calibri" panose="020F050202020403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99060" y="1340768"/>
            <a:ext cx="828932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rgbClr val="FC1B23"/>
              </a:buClr>
              <a:buSzPct val="80000"/>
              <a:buFont typeface="Wingdings" pitchFamily="2" charset="2"/>
              <a:buChar char="§"/>
            </a:pPr>
            <a:r>
              <a:rPr lang="el-GR" sz="3200" dirty="0" smtClean="0">
                <a:latin typeface="Calibri" panose="020F0502020204030204" pitchFamily="34" charset="0"/>
                <a:ea typeface="+mn-ea"/>
              </a:rPr>
              <a:t>Συμβάντα που παράγονται βάσει των διαθέσιμων πληροφοριών του οχήματος</a:t>
            </a:r>
            <a:endParaRPr lang="en-US" sz="3200" dirty="0">
              <a:latin typeface="Calibri" panose="020F050202020403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7976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500"/>
                            </p:stCondLst>
                            <p:childTnLst>
                              <p:par>
                                <p:cTn id="7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8000"/>
                            </p:stCondLst>
                            <p:childTnLst>
                              <p:par>
                                <p:cTn id="7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9000"/>
                            </p:stCondLst>
                            <p:childTnLst>
                              <p:par>
                                <p:cTn id="8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9500"/>
                            </p:stCondLst>
                            <p:childTnLst>
                              <p:par>
                                <p:cTn id="8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5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0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49" y="1500174"/>
            <a:ext cx="7753371" cy="416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312472" cy="990600"/>
          </a:xfrm>
        </p:spPr>
        <p:txBody>
          <a:bodyPr/>
          <a:lstStyle/>
          <a:p>
            <a:r>
              <a:rPr lang="el-GR" sz="3600" b="1" dirty="0" smtClean="0">
                <a:latin typeface="Calibri" panose="020F0502020204030204" pitchFamily="34" charset="0"/>
              </a:rPr>
              <a:t>Απεικόνιση Μηχανικών / Ηλεκτρικών ενδείξεων οχήματος σε πραγματικό χρόνο</a:t>
            </a:r>
            <a:endParaRPr lang="el-GR" sz="3600" b="1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7544" y="1340769"/>
            <a:ext cx="8229600" cy="2866070"/>
          </a:xfrm>
        </p:spPr>
        <p:txBody>
          <a:bodyPr>
            <a:normAutofit/>
          </a:bodyPr>
          <a:lstStyle/>
          <a:p>
            <a:r>
              <a:rPr lang="el-GR" sz="2400" dirty="0">
                <a:latin typeface="Calibri" panose="020F0502020204030204" pitchFamily="34" charset="0"/>
              </a:rPr>
              <a:t>Η </a:t>
            </a:r>
            <a:r>
              <a:rPr lang="el-GR" sz="2400" dirty="0" smtClean="0">
                <a:latin typeface="Calibri" panose="020F0502020204030204" pitchFamily="34" charset="0"/>
              </a:rPr>
              <a:t>αποδοτικότητα του οδηγού </a:t>
            </a:r>
            <a:r>
              <a:rPr lang="el-GR" sz="2400" dirty="0">
                <a:latin typeface="Calibri" panose="020F0502020204030204" pitchFamily="34" charset="0"/>
              </a:rPr>
              <a:t>επηρεάζει άμεσα τη μηχανική κατάσταση του οχήματος και των υποσυστημάτων </a:t>
            </a:r>
            <a:r>
              <a:rPr lang="el-GR" sz="2400" dirty="0" smtClean="0">
                <a:latin typeface="Calibri" panose="020F0502020204030204" pitchFamily="34" charset="0"/>
              </a:rPr>
              <a:t>του</a:t>
            </a:r>
          </a:p>
          <a:p>
            <a:r>
              <a:rPr lang="el-GR" sz="2400" dirty="0" smtClean="0">
                <a:latin typeface="Calibri" panose="020F0502020204030204" pitchFamily="34" charset="0"/>
              </a:rPr>
              <a:t>Μερικά χαρακτηριστικά παραδείγματα</a:t>
            </a:r>
            <a:r>
              <a:rPr lang="en-US" sz="2400" dirty="0" smtClean="0">
                <a:latin typeface="Calibri" panose="020F0502020204030204" pitchFamily="34" charset="0"/>
              </a:rPr>
              <a:t>:</a:t>
            </a:r>
            <a:endParaRPr lang="he-IL" sz="2400" dirty="0">
              <a:latin typeface="Calibri" panose="020F050202020403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 t="21313"/>
          <a:stretch>
            <a:fillRect/>
          </a:stretch>
        </p:blipFill>
        <p:spPr bwMode="auto">
          <a:xfrm>
            <a:off x="774006" y="2692210"/>
            <a:ext cx="110583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hevron 9"/>
          <p:cNvSpPr/>
          <p:nvPr/>
        </p:nvSpPr>
        <p:spPr>
          <a:xfrm rot="5400000">
            <a:off x="1168069" y="3358972"/>
            <a:ext cx="291991" cy="108012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91040" y="4141656"/>
            <a:ext cx="1460680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Συνεχές πάτημα φρένου για </a:t>
            </a:r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πάνω από 10 δευτερόλεπτα με </a:t>
            </a:r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ταχύτητα </a:t>
            </a:r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του οχήματος πάνω από 30 </a:t>
            </a:r>
            <a:r>
              <a:rPr lang="en-US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Km/h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39752" y="2692210"/>
            <a:ext cx="1296144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Chevron 14"/>
          <p:cNvSpPr/>
          <p:nvPr/>
        </p:nvSpPr>
        <p:spPr>
          <a:xfrm rot="5400000">
            <a:off x="2899872" y="3358972"/>
            <a:ext cx="291991" cy="108012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21797" y="4141656"/>
            <a:ext cx="1448140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Υψηλές στροφές του κινητήρα με τη θερμοκρασία του κινητήρα κάτω από 60 </a:t>
            </a:r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°C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2660196"/>
            <a:ext cx="1368152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Chevron 17"/>
          <p:cNvSpPr/>
          <p:nvPr/>
        </p:nvSpPr>
        <p:spPr>
          <a:xfrm rot="5400000">
            <a:off x="4678033" y="3358972"/>
            <a:ext cx="291991" cy="108012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142232" y="4141656"/>
            <a:ext cx="1363592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Κινητήρας </a:t>
            </a:r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στο ρελαντί επί 15 λεπτά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61874" y="2659341"/>
            <a:ext cx="1256748" cy="1001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6" cstate="print"/>
          <a:srcRect l="14728" t="3226" r="12042"/>
          <a:stretch>
            <a:fillRect/>
          </a:stretch>
        </p:blipFill>
        <p:spPr bwMode="auto">
          <a:xfrm>
            <a:off x="7158020" y="2643182"/>
            <a:ext cx="923777" cy="1034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Chevron 21"/>
          <p:cNvSpPr/>
          <p:nvPr/>
        </p:nvSpPr>
        <p:spPr>
          <a:xfrm rot="5400000">
            <a:off x="6982288" y="3358972"/>
            <a:ext cx="291991" cy="108012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861874" y="4141656"/>
            <a:ext cx="1296146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l" rtl="0"/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Ο συμπλέκτης χρησιμοποιείται με ταχύτητα νεκρά ενώ το όχημα κινείται με ταχύτητα (&gt;20</a:t>
            </a:r>
            <a:r>
              <a:rPr lang="en-US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 </a:t>
            </a:r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ΚΜΗ) 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 bwMode="auto">
          <a:xfrm>
            <a:off x="526671" y="404664"/>
            <a:ext cx="8229600" cy="49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2"/>
                </a:solidFill>
                <a:latin typeface="Arial Black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l-GR" sz="3600" b="1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Παραδείγματα μηχανικών συμβάντων</a:t>
            </a:r>
            <a:endParaRPr lang="he-IL" sz="3600" b="1" kern="12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367202" y="4141656"/>
            <a:ext cx="1237246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Ο συμπλέκτης έχει εμπλακεί άσκοπα ενώ όχημα βρίσκεται σε κίνηση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/>
          <a:srcRect t="21313"/>
          <a:stretch>
            <a:fillRect/>
          </a:stretch>
        </p:blipFill>
        <p:spPr bwMode="auto">
          <a:xfrm>
            <a:off x="774006" y="2692210"/>
            <a:ext cx="1105837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Chevron 26"/>
          <p:cNvSpPr/>
          <p:nvPr/>
        </p:nvSpPr>
        <p:spPr>
          <a:xfrm rot="5400000">
            <a:off x="1180929" y="3358972"/>
            <a:ext cx="291991" cy="108012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96584" y="4141656"/>
            <a:ext cx="1460680" cy="1656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14300" h="114300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Συνεχές πάτημα φρένου για </a:t>
            </a:r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πάνω από 10 δευτερόλεπτα με </a:t>
            </a:r>
            <a:r>
              <a:rPr lang="el-GR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ταχύτητα </a:t>
            </a:r>
            <a:r>
              <a:rPr lang="el-GR" sz="1400" dirty="0">
                <a:solidFill>
                  <a:srgbClr val="C00000"/>
                </a:solidFill>
                <a:latin typeface="Calibri" panose="020F0502020204030204" pitchFamily="34" charset="0"/>
              </a:rPr>
              <a:t>του οχήματος πάνω από 30 </a:t>
            </a:r>
            <a:r>
              <a:rPr lang="en-US" sz="1400" dirty="0" smtClean="0">
                <a:solidFill>
                  <a:srgbClr val="C00000"/>
                </a:solidFill>
                <a:latin typeface="Calibri" panose="020F0502020204030204" pitchFamily="34" charset="0"/>
              </a:rPr>
              <a:t>Km/h</a:t>
            </a:r>
            <a:endParaRPr lang="he-IL" sz="140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l-GR" sz="4400" b="1" dirty="0" smtClean="0">
                <a:latin typeface="Calibri" panose="020F0502020204030204" pitchFamily="34" charset="0"/>
                <a:cs typeface="Tahoma" pitchFamily="34" charset="0"/>
              </a:rPr>
              <a:t>G4S </a:t>
            </a:r>
            <a:r>
              <a:rPr lang="en-US" altLang="el-GR" sz="4400" b="1" dirty="0" err="1" smtClean="0">
                <a:latin typeface="Calibri" panose="020F0502020204030204" pitchFamily="34" charset="0"/>
                <a:cs typeface="Tahoma" pitchFamily="34" charset="0"/>
              </a:rPr>
              <a:t>Telematix</a:t>
            </a:r>
            <a:r>
              <a:rPr lang="en-US" altLang="el-GR" sz="4400" b="1" dirty="0" smtClean="0">
                <a:latin typeface="Calibri" panose="020F0502020204030204" pitchFamily="34" charset="0"/>
                <a:cs typeface="Tahoma" pitchFamily="34" charset="0"/>
              </a:rPr>
              <a:t> S.A. </a:t>
            </a:r>
            <a:endParaRPr lang="el-GR" altLang="el-GR" sz="4400" b="1" dirty="0" smtClean="0">
              <a:latin typeface="Calibri" panose="020F0502020204030204" pitchFamily="34" charset="0"/>
              <a:cs typeface="Tahoma" pitchFamily="34" charset="0"/>
            </a:endParaRPr>
          </a:p>
        </p:txBody>
      </p:sp>
      <p:grpSp>
        <p:nvGrpSpPr>
          <p:cNvPr id="4099" name="Group 10"/>
          <p:cNvGrpSpPr>
            <a:grpSpLocks/>
          </p:cNvGrpSpPr>
          <p:nvPr/>
        </p:nvGrpSpPr>
        <p:grpSpPr bwMode="auto">
          <a:xfrm>
            <a:off x="250825" y="4000500"/>
            <a:ext cx="2820988" cy="1714500"/>
            <a:chOff x="1763688" y="2276879"/>
            <a:chExt cx="7200898" cy="4104226"/>
          </a:xfrm>
        </p:grpSpPr>
        <p:sp>
          <p:nvSpPr>
            <p:cNvPr id="411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531504" y="6319939"/>
              <a:ext cx="32003" cy="55049"/>
            </a:xfrm>
            <a:custGeom>
              <a:avLst/>
              <a:gdLst>
                <a:gd name="T0" fmla="*/ 0 w 73"/>
                <a:gd name="T1" fmla="*/ 0 h 20"/>
                <a:gd name="T2" fmla="*/ 84180157 w 73"/>
                <a:gd name="T3" fmla="*/ 2147483647 h 20"/>
                <a:gd name="T4" fmla="*/ 337105104 w 73"/>
                <a:gd name="T5" fmla="*/ 2147483647 h 20"/>
                <a:gd name="T6" fmla="*/ 674017751 w 73"/>
                <a:gd name="T7" fmla="*/ 2147483647 h 20"/>
                <a:gd name="T8" fmla="*/ 1095303094 w 73"/>
                <a:gd name="T9" fmla="*/ 2147483647 h 20"/>
                <a:gd name="T10" fmla="*/ 1348035502 w 73"/>
                <a:gd name="T11" fmla="*/ 2147483647 h 20"/>
                <a:gd name="T12" fmla="*/ 1600959927 w 73"/>
                <a:gd name="T13" fmla="*/ 2147483647 h 20"/>
                <a:gd name="T14" fmla="*/ 1937873780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1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763688" y="2564352"/>
              <a:ext cx="752846" cy="429691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88862206 w 1808"/>
                <a:gd name="T45" fmla="*/ 2147483647 h 850"/>
                <a:gd name="T46" fmla="*/ 1010843303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162749073 h 850"/>
                <a:gd name="T92" fmla="*/ 2147483647 w 1808"/>
                <a:gd name="T93" fmla="*/ 258360549 h 850"/>
                <a:gd name="T94" fmla="*/ 2147483647 w 1808"/>
                <a:gd name="T95" fmla="*/ 1291801925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08"/>
                <a:gd name="T184" fmla="*/ 0 h 850"/>
                <a:gd name="T185" fmla="*/ 1808 w 1808"/>
                <a:gd name="T186" fmla="*/ 850 h 85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1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05642" y="3157661"/>
              <a:ext cx="1325862" cy="741637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11801442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1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05730" y="4651639"/>
              <a:ext cx="326131" cy="56884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1583682075 w 784"/>
                <a:gd name="T67" fmla="*/ 2147483647 h 1128"/>
                <a:gd name="T68" fmla="*/ 0 w 784"/>
                <a:gd name="T69" fmla="*/ 2147483647 h 1128"/>
                <a:gd name="T70" fmla="*/ 935812230 w 784"/>
                <a:gd name="T71" fmla="*/ 2147483647 h 1128"/>
                <a:gd name="T72" fmla="*/ 2015594612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641120328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1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293763" y="5194486"/>
              <a:ext cx="251456" cy="1088753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007392612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202324" y="4503311"/>
              <a:ext cx="928103" cy="1159094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1159665857 w 2226"/>
                <a:gd name="T119" fmla="*/ 2147483647 h 2292"/>
                <a:gd name="T120" fmla="*/ 1594605753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230740" y="3487957"/>
              <a:ext cx="67055" cy="47404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1589287900 h 93"/>
                <a:gd name="T6" fmla="*/ 2147483647 w 161"/>
                <a:gd name="T7" fmla="*/ 1059525182 h 93"/>
                <a:gd name="T8" fmla="*/ 2147483647 w 161"/>
                <a:gd name="T9" fmla="*/ 662268069 h 93"/>
                <a:gd name="T10" fmla="*/ 2147483647 w 161"/>
                <a:gd name="T11" fmla="*/ 397257241 h 93"/>
                <a:gd name="T12" fmla="*/ 2147483647 w 161"/>
                <a:gd name="T13" fmla="*/ 132505382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1517120466 w 161"/>
                <a:gd name="T63" fmla="*/ 2147483647 h 93"/>
                <a:gd name="T64" fmla="*/ 866975216 w 161"/>
                <a:gd name="T65" fmla="*/ 2147483647 h 93"/>
                <a:gd name="T66" fmla="*/ 577983685 w 161"/>
                <a:gd name="T67" fmla="*/ 1854038644 h 93"/>
                <a:gd name="T68" fmla="*/ 361153199 w 161"/>
                <a:gd name="T69" fmla="*/ 1191771340 h 93"/>
                <a:gd name="T70" fmla="*/ 216657174 w 161"/>
                <a:gd name="T71" fmla="*/ 662268069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749162" y="3367155"/>
              <a:ext cx="79247" cy="154443"/>
            </a:xfrm>
            <a:custGeom>
              <a:avLst/>
              <a:gdLst>
                <a:gd name="T0" fmla="*/ 2147483647 w 192"/>
                <a:gd name="T1" fmla="*/ 381899279 h 307"/>
                <a:gd name="T2" fmla="*/ 2147483647 w 192"/>
                <a:gd name="T3" fmla="*/ 0 h 307"/>
                <a:gd name="T4" fmla="*/ 2147483647 w 192"/>
                <a:gd name="T5" fmla="*/ 381899279 h 307"/>
                <a:gd name="T6" fmla="*/ 2147483647 w 192"/>
                <a:gd name="T7" fmla="*/ 1782450102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09375338 w 192"/>
                <a:gd name="T39" fmla="*/ 2147483647 h 307"/>
                <a:gd name="T40" fmla="*/ 1546852657 w 192"/>
                <a:gd name="T41" fmla="*/ 2147483647 h 307"/>
                <a:gd name="T42" fmla="*/ 703068636 w 192"/>
                <a:gd name="T43" fmla="*/ 2147483647 h 307"/>
                <a:gd name="T44" fmla="*/ 14054538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140545387 w 192"/>
                <a:gd name="T51" fmla="*/ 2147483647 h 307"/>
                <a:gd name="T52" fmla="*/ 773426329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891351322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826886" y="2871711"/>
              <a:ext cx="164590" cy="259955"/>
            </a:xfrm>
            <a:custGeom>
              <a:avLst/>
              <a:gdLst>
                <a:gd name="T0" fmla="*/ 1838779893 w 398"/>
                <a:gd name="T1" fmla="*/ 252854358 h 518"/>
                <a:gd name="T2" fmla="*/ 2147483647 w 398"/>
                <a:gd name="T3" fmla="*/ 1643049822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1555918004 w 398"/>
                <a:gd name="T105" fmla="*/ 2147483647 h 518"/>
                <a:gd name="T106" fmla="*/ 1414486440 w 398"/>
                <a:gd name="T107" fmla="*/ 2147483647 h 518"/>
                <a:gd name="T108" fmla="*/ 990191746 w 398"/>
                <a:gd name="T109" fmla="*/ 2147483647 h 518"/>
                <a:gd name="T110" fmla="*/ 1414486440 w 398"/>
                <a:gd name="T111" fmla="*/ 2147483647 h 518"/>
                <a:gd name="T112" fmla="*/ 1343684641 w 398"/>
                <a:gd name="T113" fmla="*/ 2147483647 h 518"/>
                <a:gd name="T114" fmla="*/ 282863233 w 398"/>
                <a:gd name="T115" fmla="*/ 2147483647 h 518"/>
                <a:gd name="T116" fmla="*/ 1414486440 w 398"/>
                <a:gd name="T117" fmla="*/ 2147483647 h 518"/>
                <a:gd name="T118" fmla="*/ 212233002 w 398"/>
                <a:gd name="T119" fmla="*/ 1137593156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171305" y="3163778"/>
              <a:ext cx="163065" cy="73399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311048629 w 382"/>
                <a:gd name="T21" fmla="*/ 2147483647 h 148"/>
                <a:gd name="T22" fmla="*/ 0 w 382"/>
                <a:gd name="T23" fmla="*/ 2147483647 h 148"/>
                <a:gd name="T24" fmla="*/ 311048629 w 382"/>
                <a:gd name="T25" fmla="*/ 2147483647 h 148"/>
                <a:gd name="T26" fmla="*/ 933327842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073651327 h 148"/>
                <a:gd name="T66" fmla="*/ 2147483647 w 382"/>
                <a:gd name="T67" fmla="*/ 975952129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603845" y="3018509"/>
              <a:ext cx="1229851" cy="1000063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348086" y="2576585"/>
              <a:ext cx="211833" cy="263013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1633529189 w 504"/>
                <a:gd name="T19" fmla="*/ 2147483647 h 524"/>
                <a:gd name="T20" fmla="*/ 1484962840 w 504"/>
                <a:gd name="T21" fmla="*/ 2147483647 h 524"/>
                <a:gd name="T22" fmla="*/ 2004681951 w 504"/>
                <a:gd name="T23" fmla="*/ 2147483647 h 524"/>
                <a:gd name="T24" fmla="*/ 2147483647 w 504"/>
                <a:gd name="T25" fmla="*/ 2147483647 h 524"/>
                <a:gd name="T26" fmla="*/ 2079053809 w 504"/>
                <a:gd name="T27" fmla="*/ 2147483647 h 524"/>
                <a:gd name="T28" fmla="*/ 742481420 w 504"/>
                <a:gd name="T29" fmla="*/ 2147483647 h 524"/>
                <a:gd name="T30" fmla="*/ 74195357 w 504"/>
                <a:gd name="T31" fmla="*/ 2147483647 h 524"/>
                <a:gd name="T32" fmla="*/ 74195357 w 504"/>
                <a:gd name="T33" fmla="*/ 2147483647 h 524"/>
                <a:gd name="T34" fmla="*/ 1262200320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1643888206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1011526696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095106" y="2978751"/>
              <a:ext cx="175257" cy="229372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14014166 w 438"/>
                <a:gd name="T47" fmla="*/ 2147483647 h 451"/>
                <a:gd name="T48" fmla="*/ 448451928 w 438"/>
                <a:gd name="T49" fmla="*/ 2147483647 h 451"/>
                <a:gd name="T50" fmla="*/ 960944667 w 438"/>
                <a:gd name="T51" fmla="*/ 2147483647 h 451"/>
                <a:gd name="T52" fmla="*/ 1665563238 w 438"/>
                <a:gd name="T53" fmla="*/ 2147483647 h 451"/>
                <a:gd name="T54" fmla="*/ 2114014166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119490" y="3226473"/>
              <a:ext cx="240789" cy="264542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1084496118 w 578"/>
                <a:gd name="T79" fmla="*/ 2147483647 h 524"/>
                <a:gd name="T80" fmla="*/ 216933769 w 578"/>
                <a:gd name="T81" fmla="*/ 2147483647 h 524"/>
                <a:gd name="T82" fmla="*/ 72369171 w 578"/>
                <a:gd name="T83" fmla="*/ 2147483647 h 524"/>
                <a:gd name="T84" fmla="*/ 433867955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058877427 h 524"/>
                <a:gd name="T96" fmla="*/ 2147483647 w 578"/>
                <a:gd name="T97" fmla="*/ 0 h 524"/>
                <a:gd name="T98" fmla="*/ 2147483647 w 578"/>
                <a:gd name="T99" fmla="*/ 1672742209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2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136253" y="3388563"/>
              <a:ext cx="32004" cy="79516"/>
            </a:xfrm>
            <a:custGeom>
              <a:avLst/>
              <a:gdLst>
                <a:gd name="T0" fmla="*/ 0 w 79"/>
                <a:gd name="T1" fmla="*/ 2147483647 h 160"/>
                <a:gd name="T2" fmla="*/ 398969103 w 79"/>
                <a:gd name="T3" fmla="*/ 2147483647 h 160"/>
                <a:gd name="T4" fmla="*/ 731306714 w 79"/>
                <a:gd name="T5" fmla="*/ 2147483647 h 160"/>
                <a:gd name="T6" fmla="*/ 1063808093 w 79"/>
                <a:gd name="T7" fmla="*/ 2147483647 h 160"/>
                <a:gd name="T8" fmla="*/ 1263210761 w 79"/>
                <a:gd name="T9" fmla="*/ 2147483647 h 160"/>
                <a:gd name="T10" fmla="*/ 1728647184 w 79"/>
                <a:gd name="T11" fmla="*/ 2147483647 h 160"/>
                <a:gd name="T12" fmla="*/ 2061148360 w 79"/>
                <a:gd name="T13" fmla="*/ 2147483647 h 160"/>
                <a:gd name="T14" fmla="*/ 2147483647 w 79"/>
                <a:gd name="T15" fmla="*/ 1964017117 h 160"/>
                <a:gd name="T16" fmla="*/ 2147483647 w 79"/>
                <a:gd name="T17" fmla="*/ 1227511382 h 160"/>
                <a:gd name="T18" fmla="*/ 2147483647 w 79"/>
                <a:gd name="T19" fmla="*/ 613755691 h 160"/>
                <a:gd name="T20" fmla="*/ 2147483647 w 79"/>
                <a:gd name="T21" fmla="*/ 0 h 160"/>
                <a:gd name="T22" fmla="*/ 2147483647 w 79"/>
                <a:gd name="T23" fmla="*/ 368253489 h 160"/>
                <a:gd name="T24" fmla="*/ 2147483647 w 79"/>
                <a:gd name="T25" fmla="*/ 859257768 h 160"/>
                <a:gd name="T26" fmla="*/ 2147483647 w 79"/>
                <a:gd name="T27" fmla="*/ 1227511382 h 160"/>
                <a:gd name="T28" fmla="*/ 2147483647 w 79"/>
                <a:gd name="T29" fmla="*/ 171851553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1861581215 w 79"/>
                <a:gd name="T61" fmla="*/ 2147483647 h 160"/>
                <a:gd name="T62" fmla="*/ 1462777095 w 79"/>
                <a:gd name="T63" fmla="*/ 2147483647 h 160"/>
                <a:gd name="T64" fmla="*/ 1196742935 w 79"/>
                <a:gd name="T65" fmla="*/ 2147483647 h 160"/>
                <a:gd name="T66" fmla="*/ 997340267 w 79"/>
                <a:gd name="T67" fmla="*/ 2147483647 h 160"/>
                <a:gd name="T68" fmla="*/ 731306714 w 79"/>
                <a:gd name="T69" fmla="*/ 2147483647 h 160"/>
                <a:gd name="T70" fmla="*/ 531904046 w 79"/>
                <a:gd name="T71" fmla="*/ 2147483647 h 160"/>
                <a:gd name="T72" fmla="*/ 265870190 w 79"/>
                <a:gd name="T73" fmla="*/ 2147483647 h 160"/>
                <a:gd name="T74" fmla="*/ 66467446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13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362774" y="4410034"/>
              <a:ext cx="454145" cy="204906"/>
              <a:chOff x="4488" y="2394"/>
              <a:chExt cx="358" cy="124"/>
            </a:xfrm>
          </p:grpSpPr>
          <p:sp>
            <p:nvSpPr>
              <p:cNvPr id="4612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6 w 512"/>
                  <a:gd name="T1" fmla="*/ 5 h 408"/>
                  <a:gd name="T2" fmla="*/ 14 w 512"/>
                  <a:gd name="T3" fmla="*/ 5 h 408"/>
                  <a:gd name="T4" fmla="*/ 14 w 512"/>
                  <a:gd name="T5" fmla="*/ 6 h 408"/>
                  <a:gd name="T6" fmla="*/ 13 w 512"/>
                  <a:gd name="T7" fmla="*/ 6 h 408"/>
                  <a:gd name="T8" fmla="*/ 13 w 512"/>
                  <a:gd name="T9" fmla="*/ 7 h 408"/>
                  <a:gd name="T10" fmla="*/ 12 w 512"/>
                  <a:gd name="T11" fmla="*/ 9 h 408"/>
                  <a:gd name="T12" fmla="*/ 11 w 512"/>
                  <a:gd name="T13" fmla="*/ 9 h 408"/>
                  <a:gd name="T14" fmla="*/ 11 w 512"/>
                  <a:gd name="T15" fmla="*/ 10 h 408"/>
                  <a:gd name="T16" fmla="*/ 10 w 512"/>
                  <a:gd name="T17" fmla="*/ 10 h 408"/>
                  <a:gd name="T18" fmla="*/ 10 w 512"/>
                  <a:gd name="T19" fmla="*/ 10 h 408"/>
                  <a:gd name="T20" fmla="*/ 9 w 512"/>
                  <a:gd name="T21" fmla="*/ 11 h 408"/>
                  <a:gd name="T22" fmla="*/ 8 w 512"/>
                  <a:gd name="T23" fmla="*/ 10 h 408"/>
                  <a:gd name="T24" fmla="*/ 7 w 512"/>
                  <a:gd name="T25" fmla="*/ 10 h 408"/>
                  <a:gd name="T26" fmla="*/ 6 w 512"/>
                  <a:gd name="T27" fmla="*/ 10 h 408"/>
                  <a:gd name="T28" fmla="*/ 5 w 512"/>
                  <a:gd name="T29" fmla="*/ 11 h 408"/>
                  <a:gd name="T30" fmla="*/ 4 w 512"/>
                  <a:gd name="T31" fmla="*/ 11 h 408"/>
                  <a:gd name="T32" fmla="*/ 2 w 512"/>
                  <a:gd name="T33" fmla="*/ 12 h 408"/>
                  <a:gd name="T34" fmla="*/ 2 w 512"/>
                  <a:gd name="T35" fmla="*/ 11 h 408"/>
                  <a:gd name="T36" fmla="*/ 1 w 512"/>
                  <a:gd name="T37" fmla="*/ 10 h 408"/>
                  <a:gd name="T38" fmla="*/ 0 w 512"/>
                  <a:gd name="T39" fmla="*/ 10 h 408"/>
                  <a:gd name="T40" fmla="*/ 0 w 512"/>
                  <a:gd name="T41" fmla="*/ 9 h 408"/>
                  <a:gd name="T42" fmla="*/ 1 w 512"/>
                  <a:gd name="T43" fmla="*/ 10 h 408"/>
                  <a:gd name="T44" fmla="*/ 2 w 512"/>
                  <a:gd name="T45" fmla="*/ 9 h 408"/>
                  <a:gd name="T46" fmla="*/ 2 w 512"/>
                  <a:gd name="T47" fmla="*/ 9 h 408"/>
                  <a:gd name="T48" fmla="*/ 3 w 512"/>
                  <a:gd name="T49" fmla="*/ 9 h 408"/>
                  <a:gd name="T50" fmla="*/ 3 w 512"/>
                  <a:gd name="T51" fmla="*/ 8 h 408"/>
                  <a:gd name="T52" fmla="*/ 3 w 512"/>
                  <a:gd name="T53" fmla="*/ 8 h 408"/>
                  <a:gd name="T54" fmla="*/ 4 w 512"/>
                  <a:gd name="T55" fmla="*/ 7 h 408"/>
                  <a:gd name="T56" fmla="*/ 5 w 512"/>
                  <a:gd name="T57" fmla="*/ 7 h 408"/>
                  <a:gd name="T58" fmla="*/ 6 w 512"/>
                  <a:gd name="T59" fmla="*/ 7 h 408"/>
                  <a:gd name="T60" fmla="*/ 7 w 512"/>
                  <a:gd name="T61" fmla="*/ 6 h 408"/>
                  <a:gd name="T62" fmla="*/ 8 w 512"/>
                  <a:gd name="T63" fmla="*/ 6 h 408"/>
                  <a:gd name="T64" fmla="*/ 8 w 512"/>
                  <a:gd name="T65" fmla="*/ 5 h 408"/>
                  <a:gd name="T66" fmla="*/ 8 w 512"/>
                  <a:gd name="T67" fmla="*/ 5 h 408"/>
                  <a:gd name="T68" fmla="*/ 8 w 512"/>
                  <a:gd name="T69" fmla="*/ 4 h 408"/>
                  <a:gd name="T70" fmla="*/ 9 w 512"/>
                  <a:gd name="T71" fmla="*/ 4 h 408"/>
                  <a:gd name="T72" fmla="*/ 9 w 512"/>
                  <a:gd name="T73" fmla="*/ 4 h 408"/>
                  <a:gd name="T74" fmla="*/ 9 w 512"/>
                  <a:gd name="T75" fmla="*/ 4 h 408"/>
                  <a:gd name="T76" fmla="*/ 9 w 512"/>
                  <a:gd name="T77" fmla="*/ 5 h 408"/>
                  <a:gd name="T78" fmla="*/ 9 w 512"/>
                  <a:gd name="T79" fmla="*/ 5 h 408"/>
                  <a:gd name="T80" fmla="*/ 10 w 512"/>
                  <a:gd name="T81" fmla="*/ 6 h 408"/>
                  <a:gd name="T82" fmla="*/ 11 w 512"/>
                  <a:gd name="T83" fmla="*/ 6 h 408"/>
                  <a:gd name="T84" fmla="*/ 12 w 512"/>
                  <a:gd name="T85" fmla="*/ 6 h 408"/>
                  <a:gd name="T86" fmla="*/ 12 w 512"/>
                  <a:gd name="T87" fmla="*/ 5 h 408"/>
                  <a:gd name="T88" fmla="*/ 12 w 512"/>
                  <a:gd name="T89" fmla="*/ 5 h 408"/>
                  <a:gd name="T90" fmla="*/ 11 w 512"/>
                  <a:gd name="T91" fmla="*/ 4 h 408"/>
                  <a:gd name="T92" fmla="*/ 12 w 512"/>
                  <a:gd name="T93" fmla="*/ 3 h 408"/>
                  <a:gd name="T94" fmla="*/ 13 w 512"/>
                  <a:gd name="T95" fmla="*/ 2 h 408"/>
                  <a:gd name="T96" fmla="*/ 14 w 512"/>
                  <a:gd name="T97" fmla="*/ 1 h 408"/>
                  <a:gd name="T98" fmla="*/ 15 w 512"/>
                  <a:gd name="T99" fmla="*/ 0 h 408"/>
                  <a:gd name="T100" fmla="*/ 15 w 512"/>
                  <a:gd name="T101" fmla="*/ 1 h 408"/>
                  <a:gd name="T102" fmla="*/ 15 w 512"/>
                  <a:gd name="T103" fmla="*/ 2 h 408"/>
                  <a:gd name="T104" fmla="*/ 16 w 512"/>
                  <a:gd name="T105" fmla="*/ 2 h 408"/>
                  <a:gd name="T106" fmla="*/ 18 w 512"/>
                  <a:gd name="T107" fmla="*/ 3 h 408"/>
                  <a:gd name="T108" fmla="*/ 19 w 512"/>
                  <a:gd name="T109" fmla="*/ 4 h 408"/>
                  <a:gd name="T110" fmla="*/ 19 w 512"/>
                  <a:gd name="T111" fmla="*/ 4 h 408"/>
                  <a:gd name="T112" fmla="*/ 18 w 512"/>
                  <a:gd name="T113" fmla="*/ 4 h 408"/>
                  <a:gd name="T114" fmla="*/ 17 w 512"/>
                  <a:gd name="T115" fmla="*/ 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12"/>
                  <a:gd name="T175" fmla="*/ 0 h 408"/>
                  <a:gd name="T176" fmla="*/ 512 w 512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13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6 w 232"/>
                  <a:gd name="T1" fmla="*/ 1 h 289"/>
                  <a:gd name="T2" fmla="*/ 6 w 232"/>
                  <a:gd name="T3" fmla="*/ 2 h 289"/>
                  <a:gd name="T4" fmla="*/ 6 w 232"/>
                  <a:gd name="T5" fmla="*/ 2 h 289"/>
                  <a:gd name="T6" fmla="*/ 7 w 232"/>
                  <a:gd name="T7" fmla="*/ 2 h 289"/>
                  <a:gd name="T8" fmla="*/ 7 w 232"/>
                  <a:gd name="T9" fmla="*/ 5 h 289"/>
                  <a:gd name="T10" fmla="*/ 7 w 232"/>
                  <a:gd name="T11" fmla="*/ 6 h 289"/>
                  <a:gd name="T12" fmla="*/ 7 w 232"/>
                  <a:gd name="T13" fmla="*/ 6 h 289"/>
                  <a:gd name="T14" fmla="*/ 7 w 232"/>
                  <a:gd name="T15" fmla="*/ 6 h 289"/>
                  <a:gd name="T16" fmla="*/ 9 w 232"/>
                  <a:gd name="T17" fmla="*/ 7 h 289"/>
                  <a:gd name="T18" fmla="*/ 8 w 232"/>
                  <a:gd name="T19" fmla="*/ 8 h 289"/>
                  <a:gd name="T20" fmla="*/ 7 w 232"/>
                  <a:gd name="T21" fmla="*/ 8 h 289"/>
                  <a:gd name="T22" fmla="*/ 6 w 232"/>
                  <a:gd name="T23" fmla="*/ 8 h 289"/>
                  <a:gd name="T24" fmla="*/ 4 w 232"/>
                  <a:gd name="T25" fmla="*/ 7 h 289"/>
                  <a:gd name="T26" fmla="*/ 3 w 232"/>
                  <a:gd name="T27" fmla="*/ 6 h 289"/>
                  <a:gd name="T28" fmla="*/ 2 w 232"/>
                  <a:gd name="T29" fmla="*/ 5 h 289"/>
                  <a:gd name="T30" fmla="*/ 1 w 232"/>
                  <a:gd name="T31" fmla="*/ 4 h 289"/>
                  <a:gd name="T32" fmla="*/ 0 w 232"/>
                  <a:gd name="T33" fmla="*/ 4 h 289"/>
                  <a:gd name="T34" fmla="*/ 0 w 232"/>
                  <a:gd name="T35" fmla="*/ 3 h 289"/>
                  <a:gd name="T36" fmla="*/ 0 w 232"/>
                  <a:gd name="T37" fmla="*/ 3 h 289"/>
                  <a:gd name="T38" fmla="*/ 0 w 232"/>
                  <a:gd name="T39" fmla="*/ 3 h 289"/>
                  <a:gd name="T40" fmla="*/ 0 w 232"/>
                  <a:gd name="T41" fmla="*/ 3 h 289"/>
                  <a:gd name="T42" fmla="*/ 0 w 232"/>
                  <a:gd name="T43" fmla="*/ 2 h 289"/>
                  <a:gd name="T44" fmla="*/ 0 w 232"/>
                  <a:gd name="T45" fmla="*/ 2 h 289"/>
                  <a:gd name="T46" fmla="*/ 0 w 232"/>
                  <a:gd name="T47" fmla="*/ 1 h 289"/>
                  <a:gd name="T48" fmla="*/ 0 w 232"/>
                  <a:gd name="T49" fmla="*/ 0 h 289"/>
                  <a:gd name="T50" fmla="*/ 1 w 232"/>
                  <a:gd name="T51" fmla="*/ 0 h 289"/>
                  <a:gd name="T52" fmla="*/ 2 w 232"/>
                  <a:gd name="T53" fmla="*/ 0 h 289"/>
                  <a:gd name="T54" fmla="*/ 2 w 232"/>
                  <a:gd name="T55" fmla="*/ 1 h 289"/>
                  <a:gd name="T56" fmla="*/ 3 w 232"/>
                  <a:gd name="T57" fmla="*/ 1 h 289"/>
                  <a:gd name="T58" fmla="*/ 3 w 232"/>
                  <a:gd name="T59" fmla="*/ 1 h 289"/>
                  <a:gd name="T60" fmla="*/ 3 w 232"/>
                  <a:gd name="T61" fmla="*/ 1 h 289"/>
                  <a:gd name="T62" fmla="*/ 4 w 232"/>
                  <a:gd name="T63" fmla="*/ 1 h 289"/>
                  <a:gd name="T64" fmla="*/ 4 w 232"/>
                  <a:gd name="T65" fmla="*/ 1 h 289"/>
                  <a:gd name="T66" fmla="*/ 5 w 232"/>
                  <a:gd name="T67" fmla="*/ 0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2"/>
                  <a:gd name="T103" fmla="*/ 0 h 289"/>
                  <a:gd name="T104" fmla="*/ 232 w 232"/>
                  <a:gd name="T105" fmla="*/ 289 h 28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13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463909" y="2364034"/>
              <a:ext cx="2942803" cy="1035233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756783" y="3315164"/>
              <a:ext cx="269744" cy="238547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1232022110 w 647"/>
                <a:gd name="T91" fmla="*/ 2147483647 h 470"/>
                <a:gd name="T92" fmla="*/ 0 w 647"/>
                <a:gd name="T93" fmla="*/ 2147483647 h 470"/>
                <a:gd name="T94" fmla="*/ 1666741710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522935619 h 470"/>
                <a:gd name="T100" fmla="*/ 2147483647 w 647"/>
                <a:gd name="T101" fmla="*/ 0 h 470"/>
                <a:gd name="T102" fmla="*/ 2147483647 w 647"/>
                <a:gd name="T103" fmla="*/ 915266281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283540" y="4026217"/>
              <a:ext cx="199641" cy="438866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1665197654 w 479"/>
                <a:gd name="T75" fmla="*/ 2147483647 h 868"/>
                <a:gd name="T76" fmla="*/ 72437598 w 479"/>
                <a:gd name="T77" fmla="*/ 2147483647 h 868"/>
                <a:gd name="T78" fmla="*/ 796467150 w 479"/>
                <a:gd name="T79" fmla="*/ 2147483647 h 868"/>
                <a:gd name="T80" fmla="*/ 2147483647 w 479"/>
                <a:gd name="T81" fmla="*/ 2068106400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548267" y="6326056"/>
              <a:ext cx="22860" cy="55049"/>
            </a:xfrm>
            <a:custGeom>
              <a:avLst/>
              <a:gdLst>
                <a:gd name="T0" fmla="*/ 0 w 53"/>
                <a:gd name="T1" fmla="*/ 2147483647 h 19"/>
                <a:gd name="T2" fmla="*/ 561647394 w 53"/>
                <a:gd name="T3" fmla="*/ 2147483647 h 19"/>
                <a:gd name="T4" fmla="*/ 1123294788 w 53"/>
                <a:gd name="T5" fmla="*/ 2147483647 h 19"/>
                <a:gd name="T6" fmla="*/ 1765310371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1765310371 w 53"/>
                <a:gd name="T27" fmla="*/ 0 h 19"/>
                <a:gd name="T28" fmla="*/ 1123294788 w 53"/>
                <a:gd name="T29" fmla="*/ 2147483647 h 19"/>
                <a:gd name="T30" fmla="*/ 561647394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071532" y="3361038"/>
              <a:ext cx="3048" cy="9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13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074580" y="3357980"/>
              <a:ext cx="3048" cy="5352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131096502 w 6"/>
                <a:gd name="T5" fmla="*/ 2147483647 h 24"/>
                <a:gd name="T6" fmla="*/ 393289538 w 6"/>
                <a:gd name="T7" fmla="*/ 2147483647 h 24"/>
                <a:gd name="T8" fmla="*/ 786579076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051720" y="3409971"/>
              <a:ext cx="22860" cy="55049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30181217 w 47"/>
                <a:gd name="T5" fmla="*/ 2147483647 h 67"/>
                <a:gd name="T6" fmla="*/ 345153422 w 47"/>
                <a:gd name="T7" fmla="*/ 2147483647 h 67"/>
                <a:gd name="T8" fmla="*/ 575334213 w 47"/>
                <a:gd name="T9" fmla="*/ 2147483647 h 67"/>
                <a:gd name="T10" fmla="*/ 1035459901 w 47"/>
                <a:gd name="T11" fmla="*/ 2147483647 h 67"/>
                <a:gd name="T12" fmla="*/ 161079435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1109141125 h 67"/>
                <a:gd name="T20" fmla="*/ 2147483647 w 47"/>
                <a:gd name="T21" fmla="*/ 2147483647 h 67"/>
                <a:gd name="T22" fmla="*/ 2071155211 w 47"/>
                <a:gd name="T23" fmla="*/ 2147483647 h 67"/>
                <a:gd name="T24" fmla="*/ 1265640571 w 47"/>
                <a:gd name="T25" fmla="*/ 2147483647 h 67"/>
                <a:gd name="T26" fmla="*/ 690306844 w 47"/>
                <a:gd name="T27" fmla="*/ 2147483647 h 67"/>
                <a:gd name="T28" fmla="*/ 345153422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324242" y="3405383"/>
              <a:ext cx="47243" cy="55049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1726235550 w 112"/>
                <a:gd name="T37" fmla="*/ 2147483647 h 36"/>
                <a:gd name="T38" fmla="*/ 1275905273 w 112"/>
                <a:gd name="T39" fmla="*/ 2147483647 h 36"/>
                <a:gd name="T40" fmla="*/ 750490915 w 112"/>
                <a:gd name="T41" fmla="*/ 2147483647 h 36"/>
                <a:gd name="T42" fmla="*/ 450330066 w 112"/>
                <a:gd name="T43" fmla="*/ 2147483647 h 36"/>
                <a:gd name="T44" fmla="*/ 75084740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3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953106" y="2978751"/>
              <a:ext cx="839713" cy="43580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1980410303 w 2006"/>
                <a:gd name="T37" fmla="*/ 2147483647 h 863"/>
                <a:gd name="T38" fmla="*/ 1466996254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1674177619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174083" y="3270818"/>
              <a:ext cx="393187" cy="240077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809987012 h 468"/>
                <a:gd name="T24" fmla="*/ 2147483647 w 950"/>
                <a:gd name="T25" fmla="*/ 2147483647 h 468"/>
                <a:gd name="T26" fmla="*/ 2147483647 w 950"/>
                <a:gd name="T27" fmla="*/ 2024967402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029574" y="4237240"/>
              <a:ext cx="284985" cy="278305"/>
            </a:xfrm>
            <a:custGeom>
              <a:avLst/>
              <a:gdLst>
                <a:gd name="T0" fmla="*/ 459619691 w 671"/>
                <a:gd name="T1" fmla="*/ 2147483647 h 549"/>
                <a:gd name="T2" fmla="*/ 612946237 w 671"/>
                <a:gd name="T3" fmla="*/ 2147483647 h 549"/>
                <a:gd name="T4" fmla="*/ 1302375455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912017499 h 549"/>
                <a:gd name="T24" fmla="*/ 2147483647 w 671"/>
                <a:gd name="T25" fmla="*/ 0 h 549"/>
                <a:gd name="T26" fmla="*/ 2147483647 w 671"/>
                <a:gd name="T27" fmla="*/ 651441505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838808" y="4107263"/>
              <a:ext cx="146302" cy="163618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1433252776 w 358"/>
                <a:gd name="T61" fmla="*/ 2147483647 h 327"/>
                <a:gd name="T62" fmla="*/ 1160196941 w 358"/>
                <a:gd name="T63" fmla="*/ 2147483647 h 327"/>
                <a:gd name="T64" fmla="*/ 1092057829 w 358"/>
                <a:gd name="T65" fmla="*/ 2147483647 h 327"/>
                <a:gd name="T66" fmla="*/ 1364946929 w 358"/>
                <a:gd name="T67" fmla="*/ 2147483647 h 327"/>
                <a:gd name="T68" fmla="*/ 1501558622 w 358"/>
                <a:gd name="T69" fmla="*/ 2147483647 h 327"/>
                <a:gd name="T70" fmla="*/ 1364946929 w 358"/>
                <a:gd name="T71" fmla="*/ 2147483647 h 327"/>
                <a:gd name="T72" fmla="*/ 1023751983 w 358"/>
                <a:gd name="T73" fmla="*/ 2147483647 h 327"/>
                <a:gd name="T74" fmla="*/ 477806844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341195048 w 358"/>
                <a:gd name="T81" fmla="*/ 2147483647 h 327"/>
                <a:gd name="T82" fmla="*/ 750695944 w 358"/>
                <a:gd name="T83" fmla="*/ 2147483647 h 327"/>
                <a:gd name="T84" fmla="*/ 1364946929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322178" y="3148486"/>
              <a:ext cx="120395" cy="55049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171910815 h 99"/>
                <a:gd name="T6" fmla="*/ 2147483647 w 292"/>
                <a:gd name="T7" fmla="*/ 1031464750 h 99"/>
                <a:gd name="T8" fmla="*/ 2147483647 w 292"/>
                <a:gd name="T9" fmla="*/ 1203375774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1401827255 w 292"/>
                <a:gd name="T31" fmla="*/ 2147483647 h 99"/>
                <a:gd name="T32" fmla="*/ 490622408 w 292"/>
                <a:gd name="T33" fmla="*/ 2147483647 h 99"/>
                <a:gd name="T34" fmla="*/ 70040200 w 292"/>
                <a:gd name="T35" fmla="*/ 2147483647 h 99"/>
                <a:gd name="T36" fmla="*/ 0 w 292"/>
                <a:gd name="T37" fmla="*/ 2147483647 h 99"/>
                <a:gd name="T38" fmla="*/ 70040200 w 292"/>
                <a:gd name="T39" fmla="*/ 2147483647 h 99"/>
                <a:gd name="T40" fmla="*/ 210291271 w 292"/>
                <a:gd name="T41" fmla="*/ 2147483647 h 99"/>
                <a:gd name="T42" fmla="*/ 630873453 w 292"/>
                <a:gd name="T43" fmla="*/ 2147483647 h 99"/>
                <a:gd name="T44" fmla="*/ 1051455687 w 292"/>
                <a:gd name="T45" fmla="*/ 2147483647 h 99"/>
                <a:gd name="T46" fmla="*/ 1752369108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1891327919 h 99"/>
                <a:gd name="T60" fmla="*/ 2147483647 w 292"/>
                <a:gd name="T61" fmla="*/ 1031464750 h 99"/>
                <a:gd name="T62" fmla="*/ 2147483647 w 292"/>
                <a:gd name="T63" fmla="*/ 171910815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151223" y="3842719"/>
              <a:ext cx="18288" cy="55049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000193576 w 43"/>
                <a:gd name="T5" fmla="*/ 2147483647 h 93"/>
                <a:gd name="T6" fmla="*/ 1615457148 w 43"/>
                <a:gd name="T7" fmla="*/ 2147483647 h 93"/>
                <a:gd name="T8" fmla="*/ 1384651612 w 43"/>
                <a:gd name="T9" fmla="*/ 2147483647 h 93"/>
                <a:gd name="T10" fmla="*/ 1154027254 w 43"/>
                <a:gd name="T11" fmla="*/ 2147483647 h 93"/>
                <a:gd name="T12" fmla="*/ 1076971857 w 43"/>
                <a:gd name="T13" fmla="*/ 2147483647 h 93"/>
                <a:gd name="T14" fmla="*/ 1000096788 w 43"/>
                <a:gd name="T15" fmla="*/ 2147483647 h 93"/>
                <a:gd name="T16" fmla="*/ 846166108 w 43"/>
                <a:gd name="T17" fmla="*/ 2147483647 h 93"/>
                <a:gd name="T18" fmla="*/ 846166108 w 43"/>
                <a:gd name="T19" fmla="*/ 2147483647 h 93"/>
                <a:gd name="T20" fmla="*/ 692416395 w 43"/>
                <a:gd name="T21" fmla="*/ 2147483647 h 93"/>
                <a:gd name="T22" fmla="*/ 461611285 w 43"/>
                <a:gd name="T23" fmla="*/ 2147483647 h 93"/>
                <a:gd name="T24" fmla="*/ 307680286 w 43"/>
                <a:gd name="T25" fmla="*/ 2147483647 h 93"/>
                <a:gd name="T26" fmla="*/ 153930520 w 43"/>
                <a:gd name="T27" fmla="*/ 2147483647 h 93"/>
                <a:gd name="T28" fmla="*/ 0 w 43"/>
                <a:gd name="T29" fmla="*/ 2147483647 h 93"/>
                <a:gd name="T30" fmla="*/ 153930520 w 43"/>
                <a:gd name="T31" fmla="*/ 2147483647 h 93"/>
                <a:gd name="T32" fmla="*/ 384736109 w 43"/>
                <a:gd name="T33" fmla="*/ 2147483647 h 93"/>
                <a:gd name="T34" fmla="*/ 461611285 w 43"/>
                <a:gd name="T35" fmla="*/ 2147483647 h 93"/>
                <a:gd name="T36" fmla="*/ 538485929 w 43"/>
                <a:gd name="T37" fmla="*/ 2147483647 h 93"/>
                <a:gd name="T38" fmla="*/ 615360998 w 43"/>
                <a:gd name="T39" fmla="*/ 2147483647 h 93"/>
                <a:gd name="T40" fmla="*/ 692416395 w 43"/>
                <a:gd name="T41" fmla="*/ 2147483647 h 93"/>
                <a:gd name="T42" fmla="*/ 846166108 w 43"/>
                <a:gd name="T43" fmla="*/ 2147483647 h 93"/>
                <a:gd name="T44" fmla="*/ 1076971857 w 43"/>
                <a:gd name="T45" fmla="*/ 2147483647 h 93"/>
                <a:gd name="T46" fmla="*/ 1230902324 w 43"/>
                <a:gd name="T47" fmla="*/ 2147483647 h 93"/>
                <a:gd name="T48" fmla="*/ 1538582929 w 43"/>
                <a:gd name="T49" fmla="*/ 1244531402 h 93"/>
                <a:gd name="T50" fmla="*/ 1692513396 w 43"/>
                <a:gd name="T51" fmla="*/ 829687897 h 93"/>
                <a:gd name="T52" fmla="*/ 1923319357 w 43"/>
                <a:gd name="T53" fmla="*/ 414843949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073868583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265522" y="3847307"/>
              <a:ext cx="13715" cy="55049"/>
            </a:xfrm>
            <a:custGeom>
              <a:avLst/>
              <a:gdLst>
                <a:gd name="T0" fmla="*/ 1612379359 w 40"/>
                <a:gd name="T1" fmla="*/ 2147483647 h 56"/>
                <a:gd name="T2" fmla="*/ 1491407619 w 40"/>
                <a:gd name="T3" fmla="*/ 2147483647 h 56"/>
                <a:gd name="T4" fmla="*/ 1330227972 w 40"/>
                <a:gd name="T5" fmla="*/ 2147483647 h 56"/>
                <a:gd name="T6" fmla="*/ 1128724526 w 40"/>
                <a:gd name="T7" fmla="*/ 2147483647 h 56"/>
                <a:gd name="T8" fmla="*/ 927103816 w 40"/>
                <a:gd name="T9" fmla="*/ 2147483647 h 56"/>
                <a:gd name="T10" fmla="*/ 443448812 w 40"/>
                <a:gd name="T11" fmla="*/ 2147483647 h 56"/>
                <a:gd name="T12" fmla="*/ 0 w 40"/>
                <a:gd name="T13" fmla="*/ 2147483647 h 56"/>
                <a:gd name="T14" fmla="*/ 523979489 w 40"/>
                <a:gd name="T15" fmla="*/ 2147483647 h 56"/>
                <a:gd name="T16" fmla="*/ 806248654 w 40"/>
                <a:gd name="T17" fmla="*/ 0 h 56"/>
                <a:gd name="T18" fmla="*/ 1128724526 w 40"/>
                <a:gd name="T19" fmla="*/ 2147483647 h 56"/>
                <a:gd name="T20" fmla="*/ 1410876255 w 40"/>
                <a:gd name="T21" fmla="*/ 2147483647 h 56"/>
                <a:gd name="T22" fmla="*/ 1491407619 w 40"/>
                <a:gd name="T23" fmla="*/ 2147483647 h 56"/>
                <a:gd name="T24" fmla="*/ 1572055903 w 40"/>
                <a:gd name="T25" fmla="*/ 2147483647 h 56"/>
                <a:gd name="T26" fmla="*/ 1572055903 w 40"/>
                <a:gd name="T27" fmla="*/ 2147483647 h 56"/>
                <a:gd name="T28" fmla="*/ 1612379359 w 40"/>
                <a:gd name="T29" fmla="*/ 2147483647 h 56"/>
                <a:gd name="T30" fmla="*/ 1612379359 w 40"/>
                <a:gd name="T31" fmla="*/ 2147483647 h 56"/>
                <a:gd name="T32" fmla="*/ 1612379359 w 40"/>
                <a:gd name="T33" fmla="*/ 2147483647 h 56"/>
                <a:gd name="T34" fmla="*/ 1612379359 w 40"/>
                <a:gd name="T35" fmla="*/ 2147483647 h 56"/>
                <a:gd name="T36" fmla="*/ 1612379359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693490" y="4483433"/>
              <a:ext cx="42671" cy="55049"/>
            </a:xfrm>
            <a:custGeom>
              <a:avLst/>
              <a:gdLst>
                <a:gd name="T0" fmla="*/ 0 w 106"/>
                <a:gd name="T1" fmla="*/ 2147483647 h 71"/>
                <a:gd name="T2" fmla="*/ 782872334 w 106"/>
                <a:gd name="T3" fmla="*/ 2147483647 h 71"/>
                <a:gd name="T4" fmla="*/ 1565582034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087550866 w 106"/>
                <a:gd name="T53" fmla="*/ 2147483647 h 71"/>
                <a:gd name="T54" fmla="*/ 1761341631 w 106"/>
                <a:gd name="T55" fmla="*/ 2147483647 h 71"/>
                <a:gd name="T56" fmla="*/ 1565582034 w 106"/>
                <a:gd name="T57" fmla="*/ 2147483647 h 71"/>
                <a:gd name="T58" fmla="*/ 1369986278 w 106"/>
                <a:gd name="T59" fmla="*/ 2147483647 h 71"/>
                <a:gd name="T60" fmla="*/ 1304678734 w 106"/>
                <a:gd name="T61" fmla="*/ 2147483647 h 71"/>
                <a:gd name="T62" fmla="*/ 1239533822 w 106"/>
                <a:gd name="T63" fmla="*/ 2147483647 h 71"/>
                <a:gd name="T64" fmla="*/ 1174227083 w 106"/>
                <a:gd name="T65" fmla="*/ 2147483647 h 71"/>
                <a:gd name="T66" fmla="*/ 1174227083 w 106"/>
                <a:gd name="T67" fmla="*/ 2147483647 h 71"/>
                <a:gd name="T68" fmla="*/ 1239533822 w 106"/>
                <a:gd name="T69" fmla="*/ 2147483647 h 71"/>
                <a:gd name="T70" fmla="*/ 1304678734 w 106"/>
                <a:gd name="T71" fmla="*/ 2147483647 h 71"/>
                <a:gd name="T72" fmla="*/ 1369986278 w 106"/>
                <a:gd name="T73" fmla="*/ 2147483647 h 71"/>
                <a:gd name="T74" fmla="*/ 1304678734 w 106"/>
                <a:gd name="T75" fmla="*/ 2147483647 h 71"/>
                <a:gd name="T76" fmla="*/ 1239533822 w 106"/>
                <a:gd name="T77" fmla="*/ 2147483647 h 71"/>
                <a:gd name="T78" fmla="*/ 1239533822 w 106"/>
                <a:gd name="T79" fmla="*/ 2147483647 h 71"/>
                <a:gd name="T80" fmla="*/ 1239533822 w 106"/>
                <a:gd name="T81" fmla="*/ 2147483647 h 71"/>
                <a:gd name="T82" fmla="*/ 1304678734 w 106"/>
                <a:gd name="T83" fmla="*/ 2147483647 h 71"/>
                <a:gd name="T84" fmla="*/ 1369986278 w 106"/>
                <a:gd name="T85" fmla="*/ 2147483647 h 71"/>
                <a:gd name="T86" fmla="*/ 1500437928 w 106"/>
                <a:gd name="T87" fmla="*/ 2147483647 h 71"/>
                <a:gd name="T88" fmla="*/ 1761341631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14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3711299" y="6225132"/>
              <a:ext cx="62482" cy="53521"/>
              <a:chOff x="1654" y="3671"/>
              <a:chExt cx="49" cy="17"/>
            </a:xfrm>
          </p:grpSpPr>
          <p:sp>
            <p:nvSpPr>
              <p:cNvPr id="4610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1 w 59"/>
                  <a:gd name="T1" fmla="*/ 2 h 43"/>
                  <a:gd name="T2" fmla="*/ 2 w 59"/>
                  <a:gd name="T3" fmla="*/ 1 h 43"/>
                  <a:gd name="T4" fmla="*/ 2 w 59"/>
                  <a:gd name="T5" fmla="*/ 1 h 43"/>
                  <a:gd name="T6" fmla="*/ 2 w 59"/>
                  <a:gd name="T7" fmla="*/ 0 h 43"/>
                  <a:gd name="T8" fmla="*/ 2 w 59"/>
                  <a:gd name="T9" fmla="*/ 0 h 43"/>
                  <a:gd name="T10" fmla="*/ 2 w 59"/>
                  <a:gd name="T11" fmla="*/ 0 h 43"/>
                  <a:gd name="T12" fmla="*/ 2 w 59"/>
                  <a:gd name="T13" fmla="*/ 0 h 43"/>
                  <a:gd name="T14" fmla="*/ 1 w 59"/>
                  <a:gd name="T15" fmla="*/ 0 h 43"/>
                  <a:gd name="T16" fmla="*/ 1 w 59"/>
                  <a:gd name="T17" fmla="*/ 0 h 43"/>
                  <a:gd name="T18" fmla="*/ 1 w 59"/>
                  <a:gd name="T19" fmla="*/ 0 h 43"/>
                  <a:gd name="T20" fmla="*/ 1 w 59"/>
                  <a:gd name="T21" fmla="*/ 0 h 43"/>
                  <a:gd name="T22" fmla="*/ 1 w 59"/>
                  <a:gd name="T23" fmla="*/ 0 h 43"/>
                  <a:gd name="T24" fmla="*/ 1 w 59"/>
                  <a:gd name="T25" fmla="*/ 0 h 43"/>
                  <a:gd name="T26" fmla="*/ 0 w 59"/>
                  <a:gd name="T27" fmla="*/ 1 h 43"/>
                  <a:gd name="T28" fmla="*/ 0 w 59"/>
                  <a:gd name="T29" fmla="*/ 1 h 43"/>
                  <a:gd name="T30" fmla="*/ 0 w 59"/>
                  <a:gd name="T31" fmla="*/ 1 h 43"/>
                  <a:gd name="T32" fmla="*/ 0 w 59"/>
                  <a:gd name="T33" fmla="*/ 1 h 43"/>
                  <a:gd name="T34" fmla="*/ 0 w 59"/>
                  <a:gd name="T35" fmla="*/ 1 h 43"/>
                  <a:gd name="T36" fmla="*/ 1 w 59"/>
                  <a:gd name="T37" fmla="*/ 1 h 43"/>
                  <a:gd name="T38" fmla="*/ 1 w 59"/>
                  <a:gd name="T39" fmla="*/ 2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11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1 w 67"/>
                  <a:gd name="T3" fmla="*/ 0 h 51"/>
                  <a:gd name="T4" fmla="*/ 1 w 67"/>
                  <a:gd name="T5" fmla="*/ 0 h 51"/>
                  <a:gd name="T6" fmla="*/ 2 w 67"/>
                  <a:gd name="T7" fmla="*/ 0 h 51"/>
                  <a:gd name="T8" fmla="*/ 2 w 67"/>
                  <a:gd name="T9" fmla="*/ 0 h 51"/>
                  <a:gd name="T10" fmla="*/ 2 w 67"/>
                  <a:gd name="T11" fmla="*/ 0 h 51"/>
                  <a:gd name="T12" fmla="*/ 2 w 67"/>
                  <a:gd name="T13" fmla="*/ 0 h 51"/>
                  <a:gd name="T14" fmla="*/ 2 w 67"/>
                  <a:gd name="T15" fmla="*/ 0 h 51"/>
                  <a:gd name="T16" fmla="*/ 2 w 67"/>
                  <a:gd name="T17" fmla="*/ 1 h 51"/>
                  <a:gd name="T18" fmla="*/ 2 w 67"/>
                  <a:gd name="T19" fmla="*/ 1 h 51"/>
                  <a:gd name="T20" fmla="*/ 1 w 67"/>
                  <a:gd name="T21" fmla="*/ 1 h 51"/>
                  <a:gd name="T22" fmla="*/ 1 w 67"/>
                  <a:gd name="T23" fmla="*/ 1 h 51"/>
                  <a:gd name="T24" fmla="*/ 1 w 67"/>
                  <a:gd name="T25" fmla="*/ 1 h 51"/>
                  <a:gd name="T26" fmla="*/ 1 w 67"/>
                  <a:gd name="T27" fmla="*/ 1 h 51"/>
                  <a:gd name="T28" fmla="*/ 1 w 67"/>
                  <a:gd name="T29" fmla="*/ 1 h 51"/>
                  <a:gd name="T30" fmla="*/ 1 w 67"/>
                  <a:gd name="T31" fmla="*/ 1 h 51"/>
                  <a:gd name="T32" fmla="*/ 1 w 67"/>
                  <a:gd name="T33" fmla="*/ 1 h 51"/>
                  <a:gd name="T34" fmla="*/ 1 w 67"/>
                  <a:gd name="T35" fmla="*/ 2 h 51"/>
                  <a:gd name="T36" fmla="*/ 1 w 67"/>
                  <a:gd name="T37" fmla="*/ 2 h 51"/>
                  <a:gd name="T38" fmla="*/ 0 w 67"/>
                  <a:gd name="T39" fmla="*/ 2 h 51"/>
                  <a:gd name="T40" fmla="*/ 0 w 67"/>
                  <a:gd name="T41" fmla="*/ 2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14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373010" y="4101146"/>
              <a:ext cx="30480" cy="56578"/>
            </a:xfrm>
            <a:custGeom>
              <a:avLst/>
              <a:gdLst>
                <a:gd name="T0" fmla="*/ 0 w 80"/>
                <a:gd name="T1" fmla="*/ 2147483647 h 34"/>
                <a:gd name="T2" fmla="*/ 55306344 w 80"/>
                <a:gd name="T3" fmla="*/ 2147483647 h 34"/>
                <a:gd name="T4" fmla="*/ 110612687 w 80"/>
                <a:gd name="T5" fmla="*/ 2147483647 h 34"/>
                <a:gd name="T6" fmla="*/ 221225375 w 80"/>
                <a:gd name="T7" fmla="*/ 2147483647 h 34"/>
                <a:gd name="T8" fmla="*/ 387144335 w 80"/>
                <a:gd name="T9" fmla="*/ 2147483647 h 34"/>
                <a:gd name="T10" fmla="*/ 718982349 w 80"/>
                <a:gd name="T11" fmla="*/ 2147483647 h 34"/>
                <a:gd name="T12" fmla="*/ 1216739419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1880414877 w 80"/>
                <a:gd name="T47" fmla="*/ 2147483647 h 34"/>
                <a:gd name="T48" fmla="*/ 1161432718 w 80"/>
                <a:gd name="T49" fmla="*/ 2147483647 h 34"/>
                <a:gd name="T50" fmla="*/ 718982349 w 80"/>
                <a:gd name="T51" fmla="*/ 2147483647 h 34"/>
                <a:gd name="T52" fmla="*/ 387144335 w 80"/>
                <a:gd name="T53" fmla="*/ 2147483647 h 34"/>
                <a:gd name="T54" fmla="*/ 221225375 w 80"/>
                <a:gd name="T55" fmla="*/ 2147483647 h 34"/>
                <a:gd name="T56" fmla="*/ 110612687 w 80"/>
                <a:gd name="T57" fmla="*/ 2147483647 h 34"/>
                <a:gd name="T58" fmla="*/ 55306344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4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426349" y="4107263"/>
              <a:ext cx="1524" cy="56578"/>
            </a:xfrm>
            <a:custGeom>
              <a:avLst/>
              <a:gdLst>
                <a:gd name="T0" fmla="*/ 0 w 7"/>
                <a:gd name="T1" fmla="*/ 0 h 13"/>
                <a:gd name="T2" fmla="*/ 72236954 w 7"/>
                <a:gd name="T3" fmla="*/ 2147483647 h 13"/>
                <a:gd name="T4" fmla="*/ 72236954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438540" y="4108791"/>
              <a:ext cx="6096" cy="56579"/>
            </a:xfrm>
            <a:custGeom>
              <a:avLst/>
              <a:gdLst>
                <a:gd name="T0" fmla="*/ 0 w 20"/>
                <a:gd name="T1" fmla="*/ 0 h 6"/>
                <a:gd name="T2" fmla="*/ 198255027 w 20"/>
                <a:gd name="T3" fmla="*/ 2147483647 h 6"/>
                <a:gd name="T4" fmla="*/ 566336929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452257" y="4099616"/>
              <a:ext cx="7619" cy="55049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432444" y="4091971"/>
              <a:ext cx="10668" cy="56578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123329207 w 27"/>
                <a:gd name="T5" fmla="*/ 2147483647 h 7"/>
                <a:gd name="T6" fmla="*/ 431807921 w 27"/>
                <a:gd name="T7" fmla="*/ 2147483647 h 7"/>
                <a:gd name="T8" fmla="*/ 616801657 w 27"/>
                <a:gd name="T9" fmla="*/ 2147483647 h 7"/>
                <a:gd name="T10" fmla="*/ 925280816 w 27"/>
                <a:gd name="T11" fmla="*/ 2147483647 h 7"/>
                <a:gd name="T12" fmla="*/ 1171938340 w 27"/>
                <a:gd name="T13" fmla="*/ 2147483647 h 7"/>
                <a:gd name="T14" fmla="*/ 1418753119 w 27"/>
                <a:gd name="T15" fmla="*/ 2147483647 h 7"/>
                <a:gd name="T16" fmla="*/ 1665411038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479688" y="4119496"/>
              <a:ext cx="13715" cy="58108"/>
            </a:xfrm>
            <a:custGeom>
              <a:avLst/>
              <a:gdLst>
                <a:gd name="T0" fmla="*/ 0 w 27"/>
                <a:gd name="T1" fmla="*/ 0 h 6"/>
                <a:gd name="T2" fmla="*/ 1441850939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487308" y="4116437"/>
              <a:ext cx="6096" cy="9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15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487308" y="4140904"/>
              <a:ext cx="6096" cy="1070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15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487308" y="4136316"/>
              <a:ext cx="10668" cy="56579"/>
            </a:xfrm>
            <a:custGeom>
              <a:avLst/>
              <a:gdLst>
                <a:gd name="T0" fmla="*/ 0 w 20"/>
                <a:gd name="T1" fmla="*/ 2147483647 h 24"/>
                <a:gd name="T2" fmla="*/ 303578227 w 20"/>
                <a:gd name="T3" fmla="*/ 2147483647 h 24"/>
                <a:gd name="T4" fmla="*/ 910449711 w 20"/>
                <a:gd name="T5" fmla="*/ 2147483647 h 24"/>
                <a:gd name="T6" fmla="*/ 1365958469 w 20"/>
                <a:gd name="T7" fmla="*/ 2147483647 h 24"/>
                <a:gd name="T8" fmla="*/ 1821183191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493404" y="4163841"/>
              <a:ext cx="16764" cy="53521"/>
            </a:xfrm>
            <a:custGeom>
              <a:avLst/>
              <a:gdLst>
                <a:gd name="T0" fmla="*/ 1704254376 w 33"/>
                <a:gd name="T1" fmla="*/ 2147483647 h 25"/>
                <a:gd name="T2" fmla="*/ 0 w 33"/>
                <a:gd name="T3" fmla="*/ 2147483647 h 25"/>
                <a:gd name="T4" fmla="*/ 1310965022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1704254376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499500" y="4209715"/>
              <a:ext cx="15240" cy="55049"/>
            </a:xfrm>
            <a:custGeom>
              <a:avLst/>
              <a:gdLst>
                <a:gd name="T0" fmla="*/ 0 w 40"/>
                <a:gd name="T1" fmla="*/ 0 h 18"/>
                <a:gd name="T2" fmla="*/ 165919007 w 40"/>
                <a:gd name="T3" fmla="*/ 2147483647 h 18"/>
                <a:gd name="T4" fmla="*/ 331838015 w 40"/>
                <a:gd name="T5" fmla="*/ 2147483647 h 18"/>
                <a:gd name="T6" fmla="*/ 553063390 w 40"/>
                <a:gd name="T7" fmla="*/ 2147483647 h 18"/>
                <a:gd name="T8" fmla="*/ 829594799 w 40"/>
                <a:gd name="T9" fmla="*/ 2147483647 h 18"/>
                <a:gd name="T10" fmla="*/ 149327063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1659189597 w 40"/>
                <a:gd name="T17" fmla="*/ 0 h 18"/>
                <a:gd name="T18" fmla="*/ 1106126779 w 40"/>
                <a:gd name="T19" fmla="*/ 0 h 18"/>
                <a:gd name="T20" fmla="*/ 553063390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5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508643" y="4234181"/>
              <a:ext cx="3048" cy="55049"/>
            </a:xfrm>
            <a:custGeom>
              <a:avLst/>
              <a:gdLst>
                <a:gd name="T0" fmla="*/ 85071625 w 11"/>
                <a:gd name="T1" fmla="*/ 2147483647 h 32"/>
                <a:gd name="T2" fmla="*/ 127684035 w 11"/>
                <a:gd name="T3" fmla="*/ 2147483647 h 32"/>
                <a:gd name="T4" fmla="*/ 170220004 w 11"/>
                <a:gd name="T5" fmla="*/ 2147483647 h 32"/>
                <a:gd name="T6" fmla="*/ 191487832 w 11"/>
                <a:gd name="T7" fmla="*/ 2147483647 h 32"/>
                <a:gd name="T8" fmla="*/ 212755660 w 11"/>
                <a:gd name="T9" fmla="*/ 2147483647 h 32"/>
                <a:gd name="T10" fmla="*/ 234023488 w 11"/>
                <a:gd name="T11" fmla="*/ 2147483647 h 32"/>
                <a:gd name="T12" fmla="*/ 234023488 w 11"/>
                <a:gd name="T13" fmla="*/ 0 h 32"/>
                <a:gd name="T14" fmla="*/ 127684035 w 11"/>
                <a:gd name="T15" fmla="*/ 2147483647 h 32"/>
                <a:gd name="T16" fmla="*/ 63803779 w 11"/>
                <a:gd name="T17" fmla="*/ 2147483647 h 32"/>
                <a:gd name="T18" fmla="*/ 2126783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267837 w 11"/>
                <a:gd name="T25" fmla="*/ 2147483647 h 32"/>
                <a:gd name="T26" fmla="*/ 42535674 w 11"/>
                <a:gd name="T27" fmla="*/ 2147483647 h 32"/>
                <a:gd name="T28" fmla="*/ 85071625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529979" y="4263236"/>
              <a:ext cx="1524" cy="53520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18059184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493404" y="4275469"/>
              <a:ext cx="15240" cy="56578"/>
            </a:xfrm>
            <a:custGeom>
              <a:avLst/>
              <a:gdLst>
                <a:gd name="T0" fmla="*/ 0 w 27"/>
                <a:gd name="T1" fmla="*/ 2147483647 h 18"/>
                <a:gd name="T2" fmla="*/ 1258779053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1798164270 w 27"/>
                <a:gd name="T17" fmla="*/ 2147483647 h 18"/>
                <a:gd name="T18" fmla="*/ 899082135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479688" y="4338163"/>
              <a:ext cx="22859" cy="55049"/>
            </a:xfrm>
            <a:custGeom>
              <a:avLst/>
              <a:gdLst>
                <a:gd name="T0" fmla="*/ 0 w 47"/>
                <a:gd name="T1" fmla="*/ 2147483647 h 49"/>
                <a:gd name="T2" fmla="*/ 114962281 w 47"/>
                <a:gd name="T3" fmla="*/ 2147483647 h 49"/>
                <a:gd name="T4" fmla="*/ 230160934 w 47"/>
                <a:gd name="T5" fmla="*/ 2147483647 h 49"/>
                <a:gd name="T6" fmla="*/ 460085497 w 47"/>
                <a:gd name="T7" fmla="*/ 2147483647 h 49"/>
                <a:gd name="T8" fmla="*/ 690246006 w 47"/>
                <a:gd name="T9" fmla="*/ 2147483647 h 49"/>
                <a:gd name="T10" fmla="*/ 1380492012 w 47"/>
                <a:gd name="T11" fmla="*/ 2147483647 h 49"/>
                <a:gd name="T12" fmla="*/ 1610652885 w 47"/>
                <a:gd name="T13" fmla="*/ 2147483647 h 49"/>
                <a:gd name="T14" fmla="*/ 2070975119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1955776010 w 47"/>
                <a:gd name="T37" fmla="*/ 2147483647 h 49"/>
                <a:gd name="T38" fmla="*/ 1035368887 w 47"/>
                <a:gd name="T39" fmla="*/ 2147483647 h 49"/>
                <a:gd name="T40" fmla="*/ 575284241 w 47"/>
                <a:gd name="T41" fmla="*/ 2147483647 h 49"/>
                <a:gd name="T42" fmla="*/ 230160934 w 47"/>
                <a:gd name="T43" fmla="*/ 2147483647 h 49"/>
                <a:gd name="T44" fmla="*/ 114962281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497976" y="4315227"/>
              <a:ext cx="12192" cy="55049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309383750 w 26"/>
                <a:gd name="T5" fmla="*/ 2147483647 h 9"/>
                <a:gd name="T6" fmla="*/ 618767499 w 26"/>
                <a:gd name="T7" fmla="*/ 2147483647 h 9"/>
                <a:gd name="T8" fmla="*/ 1134186258 w 26"/>
                <a:gd name="T9" fmla="*/ 2147483647 h 9"/>
                <a:gd name="T10" fmla="*/ 1546697768 w 26"/>
                <a:gd name="T11" fmla="*/ 2147483647 h 9"/>
                <a:gd name="T12" fmla="*/ 2062117699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001159" y="3998693"/>
              <a:ext cx="15240" cy="55049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358082905 w 39"/>
                <a:gd name="T5" fmla="*/ 2147483647 h 18"/>
                <a:gd name="T6" fmla="*/ 775719018 w 39"/>
                <a:gd name="T7" fmla="*/ 2147483647 h 18"/>
                <a:gd name="T8" fmla="*/ 1372472832 w 39"/>
                <a:gd name="T9" fmla="*/ 2147483647 h 18"/>
                <a:gd name="T10" fmla="*/ 1790109238 w 39"/>
                <a:gd name="T11" fmla="*/ 2147483647 h 18"/>
                <a:gd name="T12" fmla="*/ 2028780049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1730402849 w 39"/>
                <a:gd name="T21" fmla="*/ 2147483647 h 18"/>
                <a:gd name="T22" fmla="*/ 1133802021 w 39"/>
                <a:gd name="T23" fmla="*/ 2147483647 h 18"/>
                <a:gd name="T24" fmla="*/ 596753814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16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121515" y="3838082"/>
              <a:ext cx="126488" cy="188082"/>
              <a:chOff x="1199" y="2121"/>
              <a:chExt cx="97" cy="123"/>
            </a:xfrm>
          </p:grpSpPr>
          <p:sp>
            <p:nvSpPr>
              <p:cNvPr id="4600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1 h 25"/>
                  <a:gd name="T2" fmla="*/ 0 w 52"/>
                  <a:gd name="T3" fmla="*/ 1 h 25"/>
                  <a:gd name="T4" fmla="*/ 1 w 52"/>
                  <a:gd name="T5" fmla="*/ 1 h 25"/>
                  <a:gd name="T6" fmla="*/ 1 w 52"/>
                  <a:gd name="T7" fmla="*/ 1 h 25"/>
                  <a:gd name="T8" fmla="*/ 1 w 52"/>
                  <a:gd name="T9" fmla="*/ 1 h 25"/>
                  <a:gd name="T10" fmla="*/ 1 w 52"/>
                  <a:gd name="T11" fmla="*/ 1 h 25"/>
                  <a:gd name="T12" fmla="*/ 1 w 52"/>
                  <a:gd name="T13" fmla="*/ 0 h 25"/>
                  <a:gd name="T14" fmla="*/ 2 w 52"/>
                  <a:gd name="T15" fmla="*/ 0 h 25"/>
                  <a:gd name="T16" fmla="*/ 2 w 52"/>
                  <a:gd name="T17" fmla="*/ 0 h 25"/>
                  <a:gd name="T18" fmla="*/ 1 w 52"/>
                  <a:gd name="T19" fmla="*/ 0 h 25"/>
                  <a:gd name="T20" fmla="*/ 1 w 52"/>
                  <a:gd name="T21" fmla="*/ 0 h 25"/>
                  <a:gd name="T22" fmla="*/ 1 w 52"/>
                  <a:gd name="T23" fmla="*/ 0 h 25"/>
                  <a:gd name="T24" fmla="*/ 1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1 h 25"/>
                  <a:gd name="T32" fmla="*/ 0 w 52"/>
                  <a:gd name="T33" fmla="*/ 1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25"/>
                  <a:gd name="T53" fmla="*/ 52 w 52"/>
                  <a:gd name="T54" fmla="*/ 25 h 2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1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1 w 33"/>
                  <a:gd name="T9" fmla="*/ 0 h 13"/>
                  <a:gd name="T10" fmla="*/ 1 w 33"/>
                  <a:gd name="T11" fmla="*/ 0 h 13"/>
                  <a:gd name="T12" fmla="*/ 1 w 33"/>
                  <a:gd name="T13" fmla="*/ 0 h 13"/>
                  <a:gd name="T14" fmla="*/ 1 w 33"/>
                  <a:gd name="T15" fmla="*/ 0 h 13"/>
                  <a:gd name="T16" fmla="*/ 1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3"/>
                  <a:gd name="T35" fmla="*/ 33 w 33"/>
                  <a:gd name="T36" fmla="*/ 13 h 1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2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1 w 67"/>
                  <a:gd name="T1" fmla="*/ 1 h 86"/>
                  <a:gd name="T2" fmla="*/ 0 w 67"/>
                  <a:gd name="T3" fmla="*/ 0 h 86"/>
                  <a:gd name="T4" fmla="*/ 1 w 67"/>
                  <a:gd name="T5" fmla="*/ 0 h 86"/>
                  <a:gd name="T6" fmla="*/ 1 w 67"/>
                  <a:gd name="T7" fmla="*/ 0 h 86"/>
                  <a:gd name="T8" fmla="*/ 1 w 67"/>
                  <a:gd name="T9" fmla="*/ 0 h 86"/>
                  <a:gd name="T10" fmla="*/ 1 w 67"/>
                  <a:gd name="T11" fmla="*/ 0 h 86"/>
                  <a:gd name="T12" fmla="*/ 1 w 67"/>
                  <a:gd name="T13" fmla="*/ 1 h 86"/>
                  <a:gd name="T14" fmla="*/ 1 w 67"/>
                  <a:gd name="T15" fmla="*/ 1 h 86"/>
                  <a:gd name="T16" fmla="*/ 1 w 67"/>
                  <a:gd name="T17" fmla="*/ 1 h 86"/>
                  <a:gd name="T18" fmla="*/ 1 w 67"/>
                  <a:gd name="T19" fmla="*/ 1 h 86"/>
                  <a:gd name="T20" fmla="*/ 2 w 67"/>
                  <a:gd name="T21" fmla="*/ 1 h 86"/>
                  <a:gd name="T22" fmla="*/ 2 w 67"/>
                  <a:gd name="T23" fmla="*/ 2 h 86"/>
                  <a:gd name="T24" fmla="*/ 2 w 67"/>
                  <a:gd name="T25" fmla="*/ 2 h 86"/>
                  <a:gd name="T26" fmla="*/ 2 w 67"/>
                  <a:gd name="T27" fmla="*/ 2 h 86"/>
                  <a:gd name="T28" fmla="*/ 2 w 67"/>
                  <a:gd name="T29" fmla="*/ 2 h 86"/>
                  <a:gd name="T30" fmla="*/ 2 w 67"/>
                  <a:gd name="T31" fmla="*/ 3 h 86"/>
                  <a:gd name="T32" fmla="*/ 1 w 67"/>
                  <a:gd name="T33" fmla="*/ 3 h 86"/>
                  <a:gd name="T34" fmla="*/ 1 w 67"/>
                  <a:gd name="T35" fmla="*/ 2 h 86"/>
                  <a:gd name="T36" fmla="*/ 1 w 67"/>
                  <a:gd name="T37" fmla="*/ 2 h 86"/>
                  <a:gd name="T38" fmla="*/ 1 w 67"/>
                  <a:gd name="T39" fmla="*/ 2 h 86"/>
                  <a:gd name="T40" fmla="*/ 1 w 67"/>
                  <a:gd name="T41" fmla="*/ 1 h 86"/>
                  <a:gd name="T42" fmla="*/ 1 w 67"/>
                  <a:gd name="T43" fmla="*/ 1 h 86"/>
                  <a:gd name="T44" fmla="*/ 1 w 67"/>
                  <a:gd name="T45" fmla="*/ 1 h 86"/>
                  <a:gd name="T46" fmla="*/ 1 w 67"/>
                  <a:gd name="T47" fmla="*/ 1 h 86"/>
                  <a:gd name="T48" fmla="*/ 1 w 67"/>
                  <a:gd name="T49" fmla="*/ 1 h 86"/>
                  <a:gd name="T50" fmla="*/ 1 w 67"/>
                  <a:gd name="T51" fmla="*/ 1 h 86"/>
                  <a:gd name="T52" fmla="*/ 1 w 67"/>
                  <a:gd name="T53" fmla="*/ 1 h 86"/>
                  <a:gd name="T54" fmla="*/ 1 w 67"/>
                  <a:gd name="T55" fmla="*/ 1 h 86"/>
                  <a:gd name="T56" fmla="*/ 1 w 67"/>
                  <a:gd name="T57" fmla="*/ 1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67"/>
                  <a:gd name="T88" fmla="*/ 0 h 86"/>
                  <a:gd name="T89" fmla="*/ 67 w 67"/>
                  <a:gd name="T90" fmla="*/ 86 h 8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3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1 w 49"/>
                  <a:gd name="T1" fmla="*/ 0 h 86"/>
                  <a:gd name="T2" fmla="*/ 1 w 49"/>
                  <a:gd name="T3" fmla="*/ 0 h 86"/>
                  <a:gd name="T4" fmla="*/ 1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1 h 86"/>
                  <a:gd name="T12" fmla="*/ 0 w 49"/>
                  <a:gd name="T13" fmla="*/ 1 h 86"/>
                  <a:gd name="T14" fmla="*/ 0 w 49"/>
                  <a:gd name="T15" fmla="*/ 1 h 86"/>
                  <a:gd name="T16" fmla="*/ 0 w 49"/>
                  <a:gd name="T17" fmla="*/ 2 h 86"/>
                  <a:gd name="T18" fmla="*/ 0 w 49"/>
                  <a:gd name="T19" fmla="*/ 2 h 86"/>
                  <a:gd name="T20" fmla="*/ 0 w 49"/>
                  <a:gd name="T21" fmla="*/ 2 h 86"/>
                  <a:gd name="T22" fmla="*/ 0 w 49"/>
                  <a:gd name="T23" fmla="*/ 2 h 86"/>
                  <a:gd name="T24" fmla="*/ 1 w 49"/>
                  <a:gd name="T25" fmla="*/ 3 h 86"/>
                  <a:gd name="T26" fmla="*/ 1 w 49"/>
                  <a:gd name="T27" fmla="*/ 3 h 86"/>
                  <a:gd name="T28" fmla="*/ 1 w 49"/>
                  <a:gd name="T29" fmla="*/ 3 h 86"/>
                  <a:gd name="T30" fmla="*/ 1 w 49"/>
                  <a:gd name="T31" fmla="*/ 3 h 86"/>
                  <a:gd name="T32" fmla="*/ 1 w 49"/>
                  <a:gd name="T33" fmla="*/ 2 h 86"/>
                  <a:gd name="T34" fmla="*/ 2 w 49"/>
                  <a:gd name="T35" fmla="*/ 2 h 86"/>
                  <a:gd name="T36" fmla="*/ 2 w 49"/>
                  <a:gd name="T37" fmla="*/ 2 h 86"/>
                  <a:gd name="T38" fmla="*/ 2 w 49"/>
                  <a:gd name="T39" fmla="*/ 1 h 86"/>
                  <a:gd name="T40" fmla="*/ 2 w 49"/>
                  <a:gd name="T41" fmla="*/ 1 h 86"/>
                  <a:gd name="T42" fmla="*/ 2 w 49"/>
                  <a:gd name="T43" fmla="*/ 1 h 86"/>
                  <a:gd name="T44" fmla="*/ 2 w 49"/>
                  <a:gd name="T45" fmla="*/ 1 h 86"/>
                  <a:gd name="T46" fmla="*/ 2 w 49"/>
                  <a:gd name="T47" fmla="*/ 1 h 86"/>
                  <a:gd name="T48" fmla="*/ 1 w 49"/>
                  <a:gd name="T49" fmla="*/ 1 h 86"/>
                  <a:gd name="T50" fmla="*/ 1 w 49"/>
                  <a:gd name="T51" fmla="*/ 0 h 86"/>
                  <a:gd name="T52" fmla="*/ 1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9"/>
                  <a:gd name="T82" fmla="*/ 0 h 86"/>
                  <a:gd name="T83" fmla="*/ 49 w 49"/>
                  <a:gd name="T84" fmla="*/ 86 h 8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4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12"/>
                  <a:gd name="T26" fmla="*/ 6 w 6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5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1 w 39"/>
                  <a:gd name="T5" fmla="*/ 1 h 48"/>
                  <a:gd name="T6" fmla="*/ 1 w 39"/>
                  <a:gd name="T7" fmla="*/ 1 h 48"/>
                  <a:gd name="T8" fmla="*/ 1 w 39"/>
                  <a:gd name="T9" fmla="*/ 1 h 48"/>
                  <a:gd name="T10" fmla="*/ 1 w 39"/>
                  <a:gd name="T11" fmla="*/ 1 h 48"/>
                  <a:gd name="T12" fmla="*/ 1 w 39"/>
                  <a:gd name="T13" fmla="*/ 2 h 48"/>
                  <a:gd name="T14" fmla="*/ 1 w 39"/>
                  <a:gd name="T15" fmla="*/ 1 h 48"/>
                  <a:gd name="T16" fmla="*/ 0 w 39"/>
                  <a:gd name="T17" fmla="*/ 1 h 48"/>
                  <a:gd name="T18" fmla="*/ 0 w 39"/>
                  <a:gd name="T19" fmla="*/ 1 h 48"/>
                  <a:gd name="T20" fmla="*/ 0 w 39"/>
                  <a:gd name="T21" fmla="*/ 1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48"/>
                  <a:gd name="T41" fmla="*/ 39 w 39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6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1 w 16"/>
                  <a:gd name="T3" fmla="*/ 0 h 43"/>
                  <a:gd name="T4" fmla="*/ 1 w 16"/>
                  <a:gd name="T5" fmla="*/ 1 h 43"/>
                  <a:gd name="T6" fmla="*/ 1 w 16"/>
                  <a:gd name="T7" fmla="*/ 1 h 43"/>
                  <a:gd name="T8" fmla="*/ 1 w 16"/>
                  <a:gd name="T9" fmla="*/ 1 h 43"/>
                  <a:gd name="T10" fmla="*/ 1 w 16"/>
                  <a:gd name="T11" fmla="*/ 1 h 43"/>
                  <a:gd name="T12" fmla="*/ 1 w 16"/>
                  <a:gd name="T13" fmla="*/ 1 h 43"/>
                  <a:gd name="T14" fmla="*/ 0 w 16"/>
                  <a:gd name="T15" fmla="*/ 1 h 43"/>
                  <a:gd name="T16" fmla="*/ 0 w 16"/>
                  <a:gd name="T17" fmla="*/ 2 h 43"/>
                  <a:gd name="T18" fmla="*/ 0 w 16"/>
                  <a:gd name="T19" fmla="*/ 1 h 43"/>
                  <a:gd name="T20" fmla="*/ 0 w 16"/>
                  <a:gd name="T21" fmla="*/ 1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43"/>
                  <a:gd name="T41" fmla="*/ 16 w 16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7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1 w 24"/>
                  <a:gd name="T1" fmla="*/ 1 h 37"/>
                  <a:gd name="T2" fmla="*/ 1 w 24"/>
                  <a:gd name="T3" fmla="*/ 1 h 37"/>
                  <a:gd name="T4" fmla="*/ 1 w 24"/>
                  <a:gd name="T5" fmla="*/ 1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1 h 37"/>
                  <a:gd name="T14" fmla="*/ 0 w 24"/>
                  <a:gd name="T15" fmla="*/ 1 h 37"/>
                  <a:gd name="T16" fmla="*/ 0 w 24"/>
                  <a:gd name="T17" fmla="*/ 1 h 37"/>
                  <a:gd name="T18" fmla="*/ 0 w 24"/>
                  <a:gd name="T19" fmla="*/ 1 h 37"/>
                  <a:gd name="T20" fmla="*/ 0 w 24"/>
                  <a:gd name="T21" fmla="*/ 1 h 37"/>
                  <a:gd name="T22" fmla="*/ 0 w 24"/>
                  <a:gd name="T23" fmla="*/ 1 h 37"/>
                  <a:gd name="T24" fmla="*/ 0 w 24"/>
                  <a:gd name="T25" fmla="*/ 1 h 37"/>
                  <a:gd name="T26" fmla="*/ 1 w 24"/>
                  <a:gd name="T27" fmla="*/ 1 h 37"/>
                  <a:gd name="T28" fmla="*/ 1 w 24"/>
                  <a:gd name="T29" fmla="*/ 1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4"/>
                  <a:gd name="T46" fmla="*/ 0 h 37"/>
                  <a:gd name="T47" fmla="*/ 24 w 24"/>
                  <a:gd name="T48" fmla="*/ 37 h 3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8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 w 34"/>
                  <a:gd name="T1" fmla="*/ 0 h 55"/>
                  <a:gd name="T2" fmla="*/ 1 w 34"/>
                  <a:gd name="T3" fmla="*/ 0 h 55"/>
                  <a:gd name="T4" fmla="*/ 1 w 34"/>
                  <a:gd name="T5" fmla="*/ 1 h 55"/>
                  <a:gd name="T6" fmla="*/ 1 w 34"/>
                  <a:gd name="T7" fmla="*/ 1 h 55"/>
                  <a:gd name="T8" fmla="*/ 1 w 34"/>
                  <a:gd name="T9" fmla="*/ 1 h 55"/>
                  <a:gd name="T10" fmla="*/ 1 w 34"/>
                  <a:gd name="T11" fmla="*/ 1 h 55"/>
                  <a:gd name="T12" fmla="*/ 1 w 34"/>
                  <a:gd name="T13" fmla="*/ 2 h 55"/>
                  <a:gd name="T14" fmla="*/ 1 w 34"/>
                  <a:gd name="T15" fmla="*/ 2 h 55"/>
                  <a:gd name="T16" fmla="*/ 1 w 34"/>
                  <a:gd name="T17" fmla="*/ 2 h 55"/>
                  <a:gd name="T18" fmla="*/ 0 w 34"/>
                  <a:gd name="T19" fmla="*/ 2 h 55"/>
                  <a:gd name="T20" fmla="*/ 0 w 34"/>
                  <a:gd name="T21" fmla="*/ 2 h 55"/>
                  <a:gd name="T22" fmla="*/ 0 w 34"/>
                  <a:gd name="T23" fmla="*/ 1 h 55"/>
                  <a:gd name="T24" fmla="*/ 1 w 34"/>
                  <a:gd name="T25" fmla="*/ 1 h 55"/>
                  <a:gd name="T26" fmla="*/ 1 w 34"/>
                  <a:gd name="T27" fmla="*/ 1 h 55"/>
                  <a:gd name="T28" fmla="*/ 1 w 34"/>
                  <a:gd name="T29" fmla="*/ 0 h 55"/>
                  <a:gd name="T30" fmla="*/ 1 w 34"/>
                  <a:gd name="T31" fmla="*/ 0 h 55"/>
                  <a:gd name="T32" fmla="*/ 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55"/>
                  <a:gd name="T53" fmla="*/ 34 w 34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9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1 w 33"/>
                  <a:gd name="T9" fmla="*/ 0 h 12"/>
                  <a:gd name="T10" fmla="*/ 1 w 33"/>
                  <a:gd name="T11" fmla="*/ 0 h 12"/>
                  <a:gd name="T12" fmla="*/ 1 w 33"/>
                  <a:gd name="T13" fmla="*/ 0 h 12"/>
                  <a:gd name="T14" fmla="*/ 1 w 33"/>
                  <a:gd name="T15" fmla="*/ 0 h 12"/>
                  <a:gd name="T16" fmla="*/ 1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3"/>
                  <a:gd name="T34" fmla="*/ 0 h 12"/>
                  <a:gd name="T35" fmla="*/ 33 w 33"/>
                  <a:gd name="T36" fmla="*/ 12 h 1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16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702364" y="5212836"/>
              <a:ext cx="12192" cy="55049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100871066 w 33"/>
                <a:gd name="T13" fmla="*/ 2147483647 h 62"/>
                <a:gd name="T14" fmla="*/ 201742131 w 33"/>
                <a:gd name="T15" fmla="*/ 2147483647 h 62"/>
                <a:gd name="T16" fmla="*/ 403484263 w 33"/>
                <a:gd name="T17" fmla="*/ 2147483647 h 62"/>
                <a:gd name="T18" fmla="*/ 705960623 w 33"/>
                <a:gd name="T19" fmla="*/ 2147483647 h 62"/>
                <a:gd name="T20" fmla="*/ 1008573867 w 33"/>
                <a:gd name="T21" fmla="*/ 0 h 62"/>
                <a:gd name="T22" fmla="*/ 1311186556 w 33"/>
                <a:gd name="T23" fmla="*/ 2147483647 h 62"/>
                <a:gd name="T24" fmla="*/ 1664166591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711507" y="5299998"/>
              <a:ext cx="9144" cy="56578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1130998168 w 26"/>
                <a:gd name="T5" fmla="*/ 0 h 18"/>
                <a:gd name="T6" fmla="*/ 260980674 w 26"/>
                <a:gd name="T7" fmla="*/ 2147483647 h 18"/>
                <a:gd name="T8" fmla="*/ 260980674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821234" y="5212836"/>
              <a:ext cx="74675" cy="125390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1927800019 w 180"/>
                <a:gd name="T43" fmla="*/ 2147483647 h 240"/>
                <a:gd name="T44" fmla="*/ 1499419974 w 180"/>
                <a:gd name="T45" fmla="*/ 2147483647 h 240"/>
                <a:gd name="T46" fmla="*/ 1071038685 w 180"/>
                <a:gd name="T47" fmla="*/ 2147483647 h 240"/>
                <a:gd name="T48" fmla="*/ 714083387 w 180"/>
                <a:gd name="T49" fmla="*/ 2147483647 h 240"/>
                <a:gd name="T50" fmla="*/ 428380978 w 180"/>
                <a:gd name="T51" fmla="*/ 2147483647 h 240"/>
                <a:gd name="T52" fmla="*/ 285530241 w 180"/>
                <a:gd name="T53" fmla="*/ 2147483647 h 240"/>
                <a:gd name="T54" fmla="*/ 71425395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39208759 h 240"/>
                <a:gd name="T64" fmla="*/ 0 w 180"/>
                <a:gd name="T65" fmla="*/ 0 h 240"/>
                <a:gd name="T66" fmla="*/ 714083387 w 180"/>
                <a:gd name="T67" fmla="*/ 1140984447 h 240"/>
                <a:gd name="T68" fmla="*/ 1356568407 w 180"/>
                <a:gd name="T69" fmla="*/ 2147483647 h 240"/>
                <a:gd name="T70" fmla="*/ 1927800019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6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821234" y="5186841"/>
              <a:ext cx="13716" cy="55049"/>
            </a:xfrm>
            <a:custGeom>
              <a:avLst/>
              <a:gdLst>
                <a:gd name="T0" fmla="*/ 0 w 27"/>
                <a:gd name="T1" fmla="*/ 0 h 30"/>
                <a:gd name="T2" fmla="*/ 131096507 w 27"/>
                <a:gd name="T3" fmla="*/ 2147483647 h 30"/>
                <a:gd name="T4" fmla="*/ 393289552 w 27"/>
                <a:gd name="T5" fmla="*/ 2147483647 h 30"/>
                <a:gd name="T6" fmla="*/ 524386027 w 27"/>
                <a:gd name="T7" fmla="*/ 2147483647 h 30"/>
                <a:gd name="T8" fmla="*/ 524386027 w 27"/>
                <a:gd name="T9" fmla="*/ 2147483647 h 30"/>
                <a:gd name="T10" fmla="*/ 393289552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1442061733 w 27"/>
                <a:gd name="T23" fmla="*/ 2147483647 h 30"/>
                <a:gd name="T24" fmla="*/ 917675579 w 27"/>
                <a:gd name="T25" fmla="*/ 2147483647 h 30"/>
                <a:gd name="T26" fmla="*/ 52438602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17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8524309" y="5688512"/>
              <a:ext cx="440445" cy="389941"/>
              <a:chOff x="5372" y="3323"/>
              <a:chExt cx="341" cy="253"/>
            </a:xfrm>
          </p:grpSpPr>
          <p:sp>
            <p:nvSpPr>
              <p:cNvPr id="4597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 h 33"/>
                  <a:gd name="T2" fmla="*/ 0 w 53"/>
                  <a:gd name="T3" fmla="*/ 1 h 33"/>
                  <a:gd name="T4" fmla="*/ 0 w 53"/>
                  <a:gd name="T5" fmla="*/ 1 h 33"/>
                  <a:gd name="T6" fmla="*/ 1 w 53"/>
                  <a:gd name="T7" fmla="*/ 1 h 33"/>
                  <a:gd name="T8" fmla="*/ 1 w 53"/>
                  <a:gd name="T9" fmla="*/ 0 h 33"/>
                  <a:gd name="T10" fmla="*/ 1 w 53"/>
                  <a:gd name="T11" fmla="*/ 0 h 33"/>
                  <a:gd name="T12" fmla="*/ 1 w 53"/>
                  <a:gd name="T13" fmla="*/ 0 h 33"/>
                  <a:gd name="T14" fmla="*/ 1 w 53"/>
                  <a:gd name="T15" fmla="*/ 0 h 33"/>
                  <a:gd name="T16" fmla="*/ 2 w 53"/>
                  <a:gd name="T17" fmla="*/ 0 h 33"/>
                  <a:gd name="T18" fmla="*/ 2 w 53"/>
                  <a:gd name="T19" fmla="*/ 1 h 33"/>
                  <a:gd name="T20" fmla="*/ 1 w 53"/>
                  <a:gd name="T21" fmla="*/ 1 h 33"/>
                  <a:gd name="T22" fmla="*/ 1 w 53"/>
                  <a:gd name="T23" fmla="*/ 1 h 33"/>
                  <a:gd name="T24" fmla="*/ 1 w 53"/>
                  <a:gd name="T25" fmla="*/ 1 h 33"/>
                  <a:gd name="T26" fmla="*/ 1 w 53"/>
                  <a:gd name="T27" fmla="*/ 1 h 33"/>
                  <a:gd name="T28" fmla="*/ 0 w 53"/>
                  <a:gd name="T29" fmla="*/ 1 h 33"/>
                  <a:gd name="T30" fmla="*/ 0 w 53"/>
                  <a:gd name="T31" fmla="*/ 1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8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1 w 631"/>
                  <a:gd name="T1" fmla="*/ 10 h 358"/>
                  <a:gd name="T2" fmla="*/ 2 w 631"/>
                  <a:gd name="T3" fmla="*/ 10 h 358"/>
                  <a:gd name="T4" fmla="*/ 2 w 631"/>
                  <a:gd name="T5" fmla="*/ 10 h 358"/>
                  <a:gd name="T6" fmla="*/ 3 w 631"/>
                  <a:gd name="T7" fmla="*/ 9 h 358"/>
                  <a:gd name="T8" fmla="*/ 3 w 631"/>
                  <a:gd name="T9" fmla="*/ 9 h 358"/>
                  <a:gd name="T10" fmla="*/ 4 w 631"/>
                  <a:gd name="T11" fmla="*/ 9 h 358"/>
                  <a:gd name="T12" fmla="*/ 4 w 631"/>
                  <a:gd name="T13" fmla="*/ 8 h 358"/>
                  <a:gd name="T14" fmla="*/ 5 w 631"/>
                  <a:gd name="T15" fmla="*/ 8 h 358"/>
                  <a:gd name="T16" fmla="*/ 6 w 631"/>
                  <a:gd name="T17" fmla="*/ 7 h 358"/>
                  <a:gd name="T18" fmla="*/ 7 w 631"/>
                  <a:gd name="T19" fmla="*/ 7 h 358"/>
                  <a:gd name="T20" fmla="*/ 9 w 631"/>
                  <a:gd name="T21" fmla="*/ 6 h 358"/>
                  <a:gd name="T22" fmla="*/ 11 w 631"/>
                  <a:gd name="T23" fmla="*/ 5 h 358"/>
                  <a:gd name="T24" fmla="*/ 12 w 631"/>
                  <a:gd name="T25" fmla="*/ 5 h 358"/>
                  <a:gd name="T26" fmla="*/ 13 w 631"/>
                  <a:gd name="T27" fmla="*/ 5 h 358"/>
                  <a:gd name="T28" fmla="*/ 13 w 631"/>
                  <a:gd name="T29" fmla="*/ 5 h 358"/>
                  <a:gd name="T30" fmla="*/ 14 w 631"/>
                  <a:gd name="T31" fmla="*/ 4 h 358"/>
                  <a:gd name="T32" fmla="*/ 15 w 631"/>
                  <a:gd name="T33" fmla="*/ 3 h 358"/>
                  <a:gd name="T34" fmla="*/ 16 w 631"/>
                  <a:gd name="T35" fmla="*/ 2 h 358"/>
                  <a:gd name="T36" fmla="*/ 17 w 631"/>
                  <a:gd name="T37" fmla="*/ 2 h 358"/>
                  <a:gd name="T38" fmla="*/ 18 w 631"/>
                  <a:gd name="T39" fmla="*/ 1 h 358"/>
                  <a:gd name="T40" fmla="*/ 19 w 631"/>
                  <a:gd name="T41" fmla="*/ 0 h 358"/>
                  <a:gd name="T42" fmla="*/ 20 w 631"/>
                  <a:gd name="T43" fmla="*/ 0 h 358"/>
                  <a:gd name="T44" fmla="*/ 20 w 631"/>
                  <a:gd name="T45" fmla="*/ 1 h 358"/>
                  <a:gd name="T46" fmla="*/ 20 w 631"/>
                  <a:gd name="T47" fmla="*/ 1 h 358"/>
                  <a:gd name="T48" fmla="*/ 20 w 631"/>
                  <a:gd name="T49" fmla="*/ 2 h 358"/>
                  <a:gd name="T50" fmla="*/ 20 w 631"/>
                  <a:gd name="T51" fmla="*/ 3 h 358"/>
                  <a:gd name="T52" fmla="*/ 19 w 631"/>
                  <a:gd name="T53" fmla="*/ 4 h 358"/>
                  <a:gd name="T54" fmla="*/ 17 w 631"/>
                  <a:gd name="T55" fmla="*/ 5 h 358"/>
                  <a:gd name="T56" fmla="*/ 16 w 631"/>
                  <a:gd name="T57" fmla="*/ 6 h 358"/>
                  <a:gd name="T58" fmla="*/ 14 w 631"/>
                  <a:gd name="T59" fmla="*/ 6 h 358"/>
                  <a:gd name="T60" fmla="*/ 14 w 631"/>
                  <a:gd name="T61" fmla="*/ 7 h 358"/>
                  <a:gd name="T62" fmla="*/ 14 w 631"/>
                  <a:gd name="T63" fmla="*/ 7 h 358"/>
                  <a:gd name="T64" fmla="*/ 13 w 631"/>
                  <a:gd name="T65" fmla="*/ 7 h 358"/>
                  <a:gd name="T66" fmla="*/ 12 w 631"/>
                  <a:gd name="T67" fmla="*/ 8 h 358"/>
                  <a:gd name="T68" fmla="*/ 12 w 631"/>
                  <a:gd name="T69" fmla="*/ 8 h 358"/>
                  <a:gd name="T70" fmla="*/ 11 w 631"/>
                  <a:gd name="T71" fmla="*/ 7 h 358"/>
                  <a:gd name="T72" fmla="*/ 10 w 631"/>
                  <a:gd name="T73" fmla="*/ 8 h 358"/>
                  <a:gd name="T74" fmla="*/ 9 w 631"/>
                  <a:gd name="T75" fmla="*/ 10 h 358"/>
                  <a:gd name="T76" fmla="*/ 7 w 631"/>
                  <a:gd name="T77" fmla="*/ 11 h 358"/>
                  <a:gd name="T78" fmla="*/ 5 w 631"/>
                  <a:gd name="T79" fmla="*/ 12 h 358"/>
                  <a:gd name="T80" fmla="*/ 4 w 631"/>
                  <a:gd name="T81" fmla="*/ 12 h 358"/>
                  <a:gd name="T82" fmla="*/ 2 w 631"/>
                  <a:gd name="T83" fmla="*/ 12 h 358"/>
                  <a:gd name="T84" fmla="*/ 2 w 631"/>
                  <a:gd name="T85" fmla="*/ 12 h 358"/>
                  <a:gd name="T86" fmla="*/ 1 w 631"/>
                  <a:gd name="T87" fmla="*/ 12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9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2 w 359"/>
                  <a:gd name="T1" fmla="*/ 10 h 431"/>
                  <a:gd name="T2" fmla="*/ 3 w 359"/>
                  <a:gd name="T3" fmla="*/ 9 h 431"/>
                  <a:gd name="T4" fmla="*/ 5 w 359"/>
                  <a:gd name="T5" fmla="*/ 7 h 431"/>
                  <a:gd name="T6" fmla="*/ 6 w 359"/>
                  <a:gd name="T7" fmla="*/ 6 h 431"/>
                  <a:gd name="T8" fmla="*/ 6 w 359"/>
                  <a:gd name="T9" fmla="*/ 5 h 431"/>
                  <a:gd name="T10" fmla="*/ 6 w 359"/>
                  <a:gd name="T11" fmla="*/ 5 h 431"/>
                  <a:gd name="T12" fmla="*/ 6 w 359"/>
                  <a:gd name="T13" fmla="*/ 4 h 431"/>
                  <a:gd name="T14" fmla="*/ 6 w 359"/>
                  <a:gd name="T15" fmla="*/ 3 h 431"/>
                  <a:gd name="T16" fmla="*/ 6 w 359"/>
                  <a:gd name="T17" fmla="*/ 1 h 431"/>
                  <a:gd name="T18" fmla="*/ 6 w 359"/>
                  <a:gd name="T19" fmla="*/ 0 h 431"/>
                  <a:gd name="T20" fmla="*/ 6 w 359"/>
                  <a:gd name="T21" fmla="*/ 0 h 431"/>
                  <a:gd name="T22" fmla="*/ 7 w 359"/>
                  <a:gd name="T23" fmla="*/ 1 h 431"/>
                  <a:gd name="T24" fmla="*/ 8 w 359"/>
                  <a:gd name="T25" fmla="*/ 2 h 431"/>
                  <a:gd name="T26" fmla="*/ 8 w 359"/>
                  <a:gd name="T27" fmla="*/ 3 h 431"/>
                  <a:gd name="T28" fmla="*/ 8 w 359"/>
                  <a:gd name="T29" fmla="*/ 3 h 431"/>
                  <a:gd name="T30" fmla="*/ 8 w 359"/>
                  <a:gd name="T31" fmla="*/ 4 h 431"/>
                  <a:gd name="T32" fmla="*/ 7 w 359"/>
                  <a:gd name="T33" fmla="*/ 4 h 431"/>
                  <a:gd name="T34" fmla="*/ 7 w 359"/>
                  <a:gd name="T35" fmla="*/ 5 h 431"/>
                  <a:gd name="T36" fmla="*/ 7 w 359"/>
                  <a:gd name="T37" fmla="*/ 5 h 431"/>
                  <a:gd name="T38" fmla="*/ 7 w 359"/>
                  <a:gd name="T39" fmla="*/ 6 h 431"/>
                  <a:gd name="T40" fmla="*/ 8 w 359"/>
                  <a:gd name="T41" fmla="*/ 6 h 431"/>
                  <a:gd name="T42" fmla="*/ 8 w 359"/>
                  <a:gd name="T43" fmla="*/ 5 h 431"/>
                  <a:gd name="T44" fmla="*/ 8 w 359"/>
                  <a:gd name="T45" fmla="*/ 5 h 431"/>
                  <a:gd name="T46" fmla="*/ 9 w 359"/>
                  <a:gd name="T47" fmla="*/ 7 h 431"/>
                  <a:gd name="T48" fmla="*/ 9 w 359"/>
                  <a:gd name="T49" fmla="*/ 7 h 431"/>
                  <a:gd name="T50" fmla="*/ 10 w 359"/>
                  <a:gd name="T51" fmla="*/ 8 h 431"/>
                  <a:gd name="T52" fmla="*/ 10 w 359"/>
                  <a:gd name="T53" fmla="*/ 8 h 431"/>
                  <a:gd name="T54" fmla="*/ 11 w 359"/>
                  <a:gd name="T55" fmla="*/ 7 h 431"/>
                  <a:gd name="T56" fmla="*/ 12 w 359"/>
                  <a:gd name="T57" fmla="*/ 7 h 431"/>
                  <a:gd name="T58" fmla="*/ 12 w 359"/>
                  <a:gd name="T59" fmla="*/ 7 h 431"/>
                  <a:gd name="T60" fmla="*/ 12 w 359"/>
                  <a:gd name="T61" fmla="*/ 9 h 431"/>
                  <a:gd name="T62" fmla="*/ 11 w 359"/>
                  <a:gd name="T63" fmla="*/ 9 h 431"/>
                  <a:gd name="T64" fmla="*/ 10 w 359"/>
                  <a:gd name="T65" fmla="*/ 9 h 431"/>
                  <a:gd name="T66" fmla="*/ 8 w 359"/>
                  <a:gd name="T67" fmla="*/ 10 h 431"/>
                  <a:gd name="T68" fmla="*/ 7 w 359"/>
                  <a:gd name="T69" fmla="*/ 10 h 431"/>
                  <a:gd name="T70" fmla="*/ 6 w 359"/>
                  <a:gd name="T71" fmla="*/ 11 h 431"/>
                  <a:gd name="T72" fmla="*/ 6 w 359"/>
                  <a:gd name="T73" fmla="*/ 12 h 431"/>
                  <a:gd name="T74" fmla="*/ 5 w 359"/>
                  <a:gd name="T75" fmla="*/ 12 h 431"/>
                  <a:gd name="T76" fmla="*/ 4 w 359"/>
                  <a:gd name="T77" fmla="*/ 14 h 431"/>
                  <a:gd name="T78" fmla="*/ 2 w 359"/>
                  <a:gd name="T79" fmla="*/ 15 h 431"/>
                  <a:gd name="T80" fmla="*/ 1 w 359"/>
                  <a:gd name="T81" fmla="*/ 15 h 431"/>
                  <a:gd name="T82" fmla="*/ 0 w 359"/>
                  <a:gd name="T83" fmla="*/ 15 h 431"/>
                  <a:gd name="T84" fmla="*/ 0 w 359"/>
                  <a:gd name="T85" fmla="*/ 14 h 431"/>
                  <a:gd name="T86" fmla="*/ 0 w 359"/>
                  <a:gd name="T87" fmla="*/ 14 h 431"/>
                  <a:gd name="T88" fmla="*/ 0 w 359"/>
                  <a:gd name="T89" fmla="*/ 14 h 431"/>
                  <a:gd name="T90" fmla="*/ 2 w 359"/>
                  <a:gd name="T91" fmla="*/ 13 h 431"/>
                  <a:gd name="T92" fmla="*/ 3 w 359"/>
                  <a:gd name="T93" fmla="*/ 12 h 431"/>
                  <a:gd name="T94" fmla="*/ 2 w 359"/>
                  <a:gd name="T95" fmla="*/ 12 h 431"/>
                  <a:gd name="T96" fmla="*/ 2 w 359"/>
                  <a:gd name="T97" fmla="*/ 11 h 431"/>
                  <a:gd name="T98" fmla="*/ 2 w 359"/>
                  <a:gd name="T99" fmla="*/ 11 h 431"/>
                  <a:gd name="T100" fmla="*/ 1 w 359"/>
                  <a:gd name="T101" fmla="*/ 11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17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181163" y="4394742"/>
              <a:ext cx="9144" cy="55049"/>
            </a:xfrm>
            <a:custGeom>
              <a:avLst/>
              <a:gdLst>
                <a:gd name="T0" fmla="*/ 0 w 21"/>
                <a:gd name="T1" fmla="*/ 2147483647 h 62"/>
                <a:gd name="T2" fmla="*/ 82474958 w 21"/>
                <a:gd name="T3" fmla="*/ 2147483647 h 62"/>
                <a:gd name="T4" fmla="*/ 247615185 w 21"/>
                <a:gd name="T5" fmla="*/ 2147483647 h 62"/>
                <a:gd name="T6" fmla="*/ 330279963 w 21"/>
                <a:gd name="T7" fmla="*/ 2147483647 h 62"/>
                <a:gd name="T8" fmla="*/ 495419781 w 21"/>
                <a:gd name="T9" fmla="*/ 2147483647 h 62"/>
                <a:gd name="T10" fmla="*/ 743034856 w 21"/>
                <a:gd name="T11" fmla="*/ 2100146358 h 62"/>
                <a:gd name="T12" fmla="*/ 1238264790 w 21"/>
                <a:gd name="T13" fmla="*/ 0 h 62"/>
                <a:gd name="T14" fmla="*/ 1238264790 w 21"/>
                <a:gd name="T15" fmla="*/ 2147483647 h 62"/>
                <a:gd name="T16" fmla="*/ 1486068842 w 21"/>
                <a:gd name="T17" fmla="*/ 2147483647 h 62"/>
                <a:gd name="T18" fmla="*/ 1651208551 w 21"/>
                <a:gd name="T19" fmla="*/ 2147483647 h 62"/>
                <a:gd name="T20" fmla="*/ 1733683918 w 21"/>
                <a:gd name="T21" fmla="*/ 2147483647 h 62"/>
                <a:gd name="T22" fmla="*/ 825509788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879145" y="5263298"/>
              <a:ext cx="13716" cy="55049"/>
            </a:xfrm>
            <a:custGeom>
              <a:avLst/>
              <a:gdLst>
                <a:gd name="T0" fmla="*/ 0 w 33"/>
                <a:gd name="T1" fmla="*/ 0 h 24"/>
                <a:gd name="T2" fmla="*/ 358981740 w 33"/>
                <a:gd name="T3" fmla="*/ 2147483647 h 24"/>
                <a:gd name="T4" fmla="*/ 717963896 w 33"/>
                <a:gd name="T5" fmla="*/ 2147483647 h 24"/>
                <a:gd name="T6" fmla="*/ 789829052 w 33"/>
                <a:gd name="T7" fmla="*/ 2147483647 h 24"/>
                <a:gd name="T8" fmla="*/ 861694625 w 33"/>
                <a:gd name="T9" fmla="*/ 2147483647 h 24"/>
                <a:gd name="T10" fmla="*/ 933387084 w 33"/>
                <a:gd name="T11" fmla="*/ 2147483647 h 24"/>
                <a:gd name="T12" fmla="*/ 933387084 w 33"/>
                <a:gd name="T13" fmla="*/ 2147483647 h 24"/>
                <a:gd name="T14" fmla="*/ 2147483647 w 33"/>
                <a:gd name="T15" fmla="*/ 0 h 24"/>
                <a:gd name="T16" fmla="*/ 1723216345 w 33"/>
                <a:gd name="T17" fmla="*/ 0 h 24"/>
                <a:gd name="T18" fmla="*/ 1148811312 w 33"/>
                <a:gd name="T19" fmla="*/ 0 h 24"/>
                <a:gd name="T20" fmla="*/ 646271228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900481" y="5272473"/>
              <a:ext cx="16764" cy="56578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097543730 w 33"/>
                <a:gd name="T11" fmla="*/ 0 h 25"/>
                <a:gd name="T12" fmla="*/ 786578962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242122" y="4384038"/>
              <a:ext cx="1524" cy="53521"/>
            </a:xfrm>
            <a:custGeom>
              <a:avLst/>
              <a:gdLst>
                <a:gd name="T0" fmla="*/ 0 w 7"/>
                <a:gd name="T1" fmla="*/ 0 h 53521"/>
                <a:gd name="T2" fmla="*/ 72236954 w 7"/>
                <a:gd name="T3" fmla="*/ 0 h 53521"/>
                <a:gd name="T4" fmla="*/ 0 w 7"/>
                <a:gd name="T5" fmla="*/ 0 h 53521"/>
                <a:gd name="T6" fmla="*/ 0 60000 65536"/>
                <a:gd name="T7" fmla="*/ 0 60000 65536"/>
                <a:gd name="T8" fmla="*/ 0 60000 65536"/>
                <a:gd name="T9" fmla="*/ 0 w 7"/>
                <a:gd name="T10" fmla="*/ 0 h 53521"/>
                <a:gd name="T11" fmla="*/ 7 w 7"/>
                <a:gd name="T12" fmla="*/ 53521 h 535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3521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5" name="Freeform 82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406712" y="4223478"/>
              <a:ext cx="4572" cy="55049"/>
            </a:xfrm>
            <a:custGeom>
              <a:avLst/>
              <a:gdLst>
                <a:gd name="T0" fmla="*/ 0 w 14"/>
                <a:gd name="T1" fmla="*/ 0 h 18"/>
                <a:gd name="T2" fmla="*/ 104515932 w 14"/>
                <a:gd name="T3" fmla="*/ 2147483647 h 18"/>
                <a:gd name="T4" fmla="*/ 174157638 w 14"/>
                <a:gd name="T5" fmla="*/ 2147483647 h 18"/>
                <a:gd name="T6" fmla="*/ 243799303 w 14"/>
                <a:gd name="T7" fmla="*/ 2147483647 h 18"/>
                <a:gd name="T8" fmla="*/ 313440967 w 14"/>
                <a:gd name="T9" fmla="*/ 2147483647 h 18"/>
                <a:gd name="T10" fmla="*/ 452724705 w 14"/>
                <a:gd name="T11" fmla="*/ 2147483647 h 18"/>
                <a:gd name="T12" fmla="*/ 487598932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6" name="Freeform 83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553014" y="4896303"/>
              <a:ext cx="25908" cy="56578"/>
            </a:xfrm>
            <a:custGeom>
              <a:avLst/>
              <a:gdLst>
                <a:gd name="T0" fmla="*/ 0 w 67"/>
                <a:gd name="T1" fmla="*/ 0 h 74"/>
                <a:gd name="T2" fmla="*/ 57866869 w 67"/>
                <a:gd name="T3" fmla="*/ 2147483647 h 74"/>
                <a:gd name="T4" fmla="*/ 173450549 w 67"/>
                <a:gd name="T5" fmla="*/ 2147483647 h 74"/>
                <a:gd name="T6" fmla="*/ 404768330 w 67"/>
                <a:gd name="T7" fmla="*/ 2147483647 h 74"/>
                <a:gd name="T8" fmla="*/ 693802970 w 67"/>
                <a:gd name="T9" fmla="*/ 2147483647 h 74"/>
                <a:gd name="T10" fmla="*/ 982986581 w 67"/>
                <a:gd name="T11" fmla="*/ 2147483647 h 74"/>
                <a:gd name="T12" fmla="*/ 1329888356 w 67"/>
                <a:gd name="T13" fmla="*/ 2147483647 h 74"/>
                <a:gd name="T14" fmla="*/ 1618922512 w 67"/>
                <a:gd name="T15" fmla="*/ 2147483647 h 74"/>
                <a:gd name="T16" fmla="*/ 190810631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1908106317 w 67"/>
                <a:gd name="T41" fmla="*/ 0 h 74"/>
                <a:gd name="T42" fmla="*/ 982986581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7" name="Freeform 84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613973" y="4910065"/>
              <a:ext cx="12192" cy="55049"/>
            </a:xfrm>
            <a:custGeom>
              <a:avLst/>
              <a:gdLst>
                <a:gd name="T0" fmla="*/ 0 w 34"/>
                <a:gd name="T1" fmla="*/ 0 h 38"/>
                <a:gd name="T2" fmla="*/ 92195885 w 34"/>
                <a:gd name="T3" fmla="*/ 2147483647 h 38"/>
                <a:gd name="T4" fmla="*/ 184391770 w 34"/>
                <a:gd name="T5" fmla="*/ 2147483647 h 38"/>
                <a:gd name="T6" fmla="*/ 230553933 w 34"/>
                <a:gd name="T7" fmla="*/ 2147483647 h 38"/>
                <a:gd name="T8" fmla="*/ 276716052 w 34"/>
                <a:gd name="T9" fmla="*/ 2147483647 h 38"/>
                <a:gd name="T10" fmla="*/ 461107508 w 34"/>
                <a:gd name="T11" fmla="*/ 2147483647 h 38"/>
                <a:gd name="T12" fmla="*/ 599465490 w 34"/>
                <a:gd name="T13" fmla="*/ 2147483647 h 38"/>
                <a:gd name="T14" fmla="*/ 737695096 w 34"/>
                <a:gd name="T15" fmla="*/ 2147483647 h 38"/>
                <a:gd name="T16" fmla="*/ 922215017 w 34"/>
                <a:gd name="T17" fmla="*/ 2147483647 h 38"/>
                <a:gd name="T18" fmla="*/ 1060573356 w 34"/>
                <a:gd name="T19" fmla="*/ 2147483647 h 38"/>
                <a:gd name="T20" fmla="*/ 1198802605 w 34"/>
                <a:gd name="T21" fmla="*/ 2147483647 h 38"/>
                <a:gd name="T22" fmla="*/ 1290998467 w 34"/>
                <a:gd name="T23" fmla="*/ 2147483647 h 38"/>
                <a:gd name="T24" fmla="*/ 1475518567 w 34"/>
                <a:gd name="T25" fmla="*/ 2147483647 h 38"/>
                <a:gd name="T26" fmla="*/ 1521551594 w 34"/>
                <a:gd name="T27" fmla="*/ 2147483647 h 38"/>
                <a:gd name="T28" fmla="*/ 1567714788 w 34"/>
                <a:gd name="T29" fmla="*/ 2147483647 h 38"/>
                <a:gd name="T30" fmla="*/ 1429356090 w 34"/>
                <a:gd name="T31" fmla="*/ 2147483647 h 38"/>
                <a:gd name="T32" fmla="*/ 1290998467 w 34"/>
                <a:gd name="T33" fmla="*/ 2147483647 h 38"/>
                <a:gd name="T34" fmla="*/ 1198802605 w 34"/>
                <a:gd name="T35" fmla="*/ 2147483647 h 38"/>
                <a:gd name="T36" fmla="*/ 1106606742 w 34"/>
                <a:gd name="T37" fmla="*/ 2147483647 h 38"/>
                <a:gd name="T38" fmla="*/ 876053257 w 34"/>
                <a:gd name="T39" fmla="*/ 2147483647 h 38"/>
                <a:gd name="T40" fmla="*/ 599465490 w 34"/>
                <a:gd name="T41" fmla="*/ 0 h 38"/>
                <a:gd name="T42" fmla="*/ 276716052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8" name="Freeform 85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8476815" y="4694455"/>
              <a:ext cx="24384" cy="53520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1071259203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79" name="Freeform 86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8421951" y="4669989"/>
              <a:ext cx="10668" cy="55049"/>
            </a:xfrm>
            <a:custGeom>
              <a:avLst/>
              <a:gdLst>
                <a:gd name="T0" fmla="*/ 0 w 26"/>
                <a:gd name="T1" fmla="*/ 0 h 12"/>
                <a:gd name="T2" fmla="*/ 276266345 w 26"/>
                <a:gd name="T3" fmla="*/ 2147483647 h 12"/>
                <a:gd name="T4" fmla="*/ 759774532 w 26"/>
                <a:gd name="T5" fmla="*/ 2147483647 h 12"/>
                <a:gd name="T6" fmla="*/ 967015758 w 26"/>
                <a:gd name="T7" fmla="*/ 2147483647 h 12"/>
                <a:gd name="T8" fmla="*/ 1243450637 w 26"/>
                <a:gd name="T9" fmla="*/ 2147483647 h 12"/>
                <a:gd name="T10" fmla="*/ 1519717290 w 26"/>
                <a:gd name="T11" fmla="*/ 2147483647 h 12"/>
                <a:gd name="T12" fmla="*/ 1795982712 w 26"/>
                <a:gd name="T13" fmla="*/ 2147483647 h 12"/>
                <a:gd name="T14" fmla="*/ 1450523842 w 26"/>
                <a:gd name="T15" fmla="*/ 2147483647 h 12"/>
                <a:gd name="T16" fmla="*/ 897991356 w 26"/>
                <a:gd name="T17" fmla="*/ 2147483647 h 12"/>
                <a:gd name="T18" fmla="*/ 345458973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0" name="Freeform 87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8613973" y="4989580"/>
              <a:ext cx="30480" cy="55049"/>
            </a:xfrm>
            <a:custGeom>
              <a:avLst/>
              <a:gdLst>
                <a:gd name="T0" fmla="*/ 0 w 73"/>
                <a:gd name="T1" fmla="*/ 0 h 55049"/>
                <a:gd name="T2" fmla="*/ 1455869911 w 73"/>
                <a:gd name="T3" fmla="*/ 0 h 55049"/>
                <a:gd name="T4" fmla="*/ 2147483647 w 73"/>
                <a:gd name="T5" fmla="*/ 0 h 55049"/>
                <a:gd name="T6" fmla="*/ 2147483647 w 73"/>
                <a:gd name="T7" fmla="*/ 0 h 55049"/>
                <a:gd name="T8" fmla="*/ 2147483647 w 73"/>
                <a:gd name="T9" fmla="*/ 0 h 5504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5049"/>
                <a:gd name="T17" fmla="*/ 73 w 73"/>
                <a:gd name="T18" fmla="*/ 55049 h 5504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5049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1" name="Freeform 88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571301" y="4978877"/>
              <a:ext cx="21336" cy="55049"/>
            </a:xfrm>
            <a:custGeom>
              <a:avLst/>
              <a:gdLst>
                <a:gd name="T0" fmla="*/ 0 w 53"/>
                <a:gd name="T1" fmla="*/ 0 h 3"/>
                <a:gd name="T2" fmla="*/ 913366925 w 53"/>
                <a:gd name="T3" fmla="*/ 0 h 3"/>
                <a:gd name="T4" fmla="*/ 1761423165 w 53"/>
                <a:gd name="T5" fmla="*/ 2147483647 h 3"/>
                <a:gd name="T6" fmla="*/ 2087649706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2" name="Line 89"/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>
              <a:off x="8603305" y="4965114"/>
              <a:ext cx="19811" cy="611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183" name="Freeform 90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8623117" y="4971231"/>
              <a:ext cx="1524" cy="55049"/>
            </a:xfrm>
            <a:custGeom>
              <a:avLst/>
              <a:gdLst>
                <a:gd name="T0" fmla="*/ 0 w 1524"/>
                <a:gd name="T1" fmla="*/ 0 h 13"/>
                <a:gd name="T2" fmla="*/ 0 w 1524"/>
                <a:gd name="T3" fmla="*/ 2147483647 h 13"/>
                <a:gd name="T4" fmla="*/ 0 w 1524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24"/>
                <a:gd name="T10" fmla="*/ 0 h 13"/>
                <a:gd name="T11" fmla="*/ 1524 w 1524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24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4" name="Freeform 9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578922" y="4965114"/>
              <a:ext cx="13715" cy="56579"/>
            </a:xfrm>
            <a:custGeom>
              <a:avLst/>
              <a:gdLst>
                <a:gd name="T0" fmla="*/ 0 w 26"/>
                <a:gd name="T1" fmla="*/ 0 h 56579"/>
                <a:gd name="T2" fmla="*/ 2147483647 w 26"/>
                <a:gd name="T3" fmla="*/ 0 h 56579"/>
                <a:gd name="T4" fmla="*/ 2147483647 w 26"/>
                <a:gd name="T5" fmla="*/ 0 h 56579"/>
                <a:gd name="T6" fmla="*/ 0 60000 65536"/>
                <a:gd name="T7" fmla="*/ 0 60000 65536"/>
                <a:gd name="T8" fmla="*/ 0 60000 65536"/>
                <a:gd name="T9" fmla="*/ 0 w 26"/>
                <a:gd name="T10" fmla="*/ 0 h 56579"/>
                <a:gd name="T11" fmla="*/ 26 w 26"/>
                <a:gd name="T12" fmla="*/ 56579 h 5657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6579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5" name="Freeform 9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572826" y="4946764"/>
              <a:ext cx="6096" cy="58108"/>
            </a:xfrm>
            <a:custGeom>
              <a:avLst/>
              <a:gdLst>
                <a:gd name="T0" fmla="*/ 566336929 w 20"/>
                <a:gd name="T1" fmla="*/ 0 h 25"/>
                <a:gd name="T2" fmla="*/ 0 w 20"/>
                <a:gd name="T3" fmla="*/ 2147483647 h 25"/>
                <a:gd name="T4" fmla="*/ 113248740 w 20"/>
                <a:gd name="T5" fmla="*/ 2147483647 h 25"/>
                <a:gd name="T6" fmla="*/ 283168312 w 20"/>
                <a:gd name="T7" fmla="*/ 2147483647 h 25"/>
                <a:gd name="T8" fmla="*/ 396417395 w 20"/>
                <a:gd name="T9" fmla="*/ 2147483647 h 25"/>
                <a:gd name="T10" fmla="*/ 566336929 w 20"/>
                <a:gd name="T11" fmla="*/ 2147483647 h 25"/>
                <a:gd name="T12" fmla="*/ 566336929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6" name="Freeform 9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650548" y="4683751"/>
              <a:ext cx="1524" cy="55049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98322384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187" name="Group 94"/>
            <p:cNvGrpSpPr>
              <a:grpSpLocks/>
            </p:cNvGrpSpPr>
            <p:nvPr>
              <p:custDataLst>
                <p:tags r:id="rId73"/>
              </p:custDataLst>
            </p:nvPr>
          </p:nvGrpSpPr>
          <p:grpSpPr bwMode="auto">
            <a:xfrm>
              <a:off x="8530360" y="4367215"/>
              <a:ext cx="156974" cy="110099"/>
              <a:chOff x="5379" y="2466"/>
              <a:chExt cx="122" cy="71"/>
            </a:xfrm>
          </p:grpSpPr>
          <p:sp>
            <p:nvSpPr>
              <p:cNvPr id="4588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 w 19"/>
                  <a:gd name="T1" fmla="*/ 1 h 25"/>
                  <a:gd name="T2" fmla="*/ 1 w 19"/>
                  <a:gd name="T3" fmla="*/ 1 h 25"/>
                  <a:gd name="T4" fmla="*/ 1 w 19"/>
                  <a:gd name="T5" fmla="*/ 0 h 25"/>
                  <a:gd name="T6" fmla="*/ 1 w 19"/>
                  <a:gd name="T7" fmla="*/ 0 h 25"/>
                  <a:gd name="T8" fmla="*/ 1 w 19"/>
                  <a:gd name="T9" fmla="*/ 0 h 25"/>
                  <a:gd name="T10" fmla="*/ 1 w 19"/>
                  <a:gd name="T11" fmla="*/ 0 h 25"/>
                  <a:gd name="T12" fmla="*/ 1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1 h 25"/>
                  <a:gd name="T20" fmla="*/ 0 w 19"/>
                  <a:gd name="T21" fmla="*/ 1 h 25"/>
                  <a:gd name="T22" fmla="*/ 0 w 19"/>
                  <a:gd name="T23" fmla="*/ 1 h 25"/>
                  <a:gd name="T24" fmla="*/ 1 w 19"/>
                  <a:gd name="T25" fmla="*/ 1 h 25"/>
                  <a:gd name="T26" fmla="*/ 1 w 19"/>
                  <a:gd name="T27" fmla="*/ 1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"/>
                  <a:gd name="T43" fmla="*/ 0 h 25"/>
                  <a:gd name="T44" fmla="*/ 19 w 19"/>
                  <a:gd name="T45" fmla="*/ 25 h 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9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1 w 26"/>
                  <a:gd name="T1" fmla="*/ 1 h 18"/>
                  <a:gd name="T2" fmla="*/ 0 w 26"/>
                  <a:gd name="T3" fmla="*/ 1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1 w 26"/>
                  <a:gd name="T15" fmla="*/ 1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18"/>
                  <a:gd name="T26" fmla="*/ 26 w 26"/>
                  <a:gd name="T27" fmla="*/ 18 h 1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0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 h 18"/>
                  <a:gd name="T2" fmla="*/ 1 w 13"/>
                  <a:gd name="T3" fmla="*/ 0 h 18"/>
                  <a:gd name="T4" fmla="*/ 0 w 13"/>
                  <a:gd name="T5" fmla="*/ 1 h 18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8"/>
                  <a:gd name="T11" fmla="*/ 13 w 13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1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1 h 24"/>
                  <a:gd name="T2" fmla="*/ 0 w 26"/>
                  <a:gd name="T3" fmla="*/ 1 h 24"/>
                  <a:gd name="T4" fmla="*/ 0 w 26"/>
                  <a:gd name="T5" fmla="*/ 1 h 24"/>
                  <a:gd name="T6" fmla="*/ 0 w 26"/>
                  <a:gd name="T7" fmla="*/ 1 h 24"/>
                  <a:gd name="T8" fmla="*/ 1 w 26"/>
                  <a:gd name="T9" fmla="*/ 1 h 24"/>
                  <a:gd name="T10" fmla="*/ 1 w 26"/>
                  <a:gd name="T11" fmla="*/ 0 h 24"/>
                  <a:gd name="T12" fmla="*/ 1 w 26"/>
                  <a:gd name="T13" fmla="*/ 0 h 24"/>
                  <a:gd name="T14" fmla="*/ 1 w 26"/>
                  <a:gd name="T15" fmla="*/ 0 h 24"/>
                  <a:gd name="T16" fmla="*/ 1 w 26"/>
                  <a:gd name="T17" fmla="*/ 0 h 24"/>
                  <a:gd name="T18" fmla="*/ 0 w 26"/>
                  <a:gd name="T19" fmla="*/ 1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6"/>
                  <a:gd name="T31" fmla="*/ 0 h 24"/>
                  <a:gd name="T32" fmla="*/ 26 w 2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2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1 w 34"/>
                  <a:gd name="T5" fmla="*/ 0 h 6"/>
                  <a:gd name="T6" fmla="*/ 1 w 34"/>
                  <a:gd name="T7" fmla="*/ 0 h 6"/>
                  <a:gd name="T8" fmla="*/ 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6"/>
                  <a:gd name="T17" fmla="*/ 34 w 3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3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4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1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9"/>
                  <a:gd name="T11" fmla="*/ 1 w 1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5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6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6"/>
                  <a:gd name="T11" fmla="*/ 14 w 1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188" name="Freeform 10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7170765" y="4234181"/>
              <a:ext cx="6096" cy="55049"/>
            </a:xfrm>
            <a:custGeom>
              <a:avLst/>
              <a:gdLst>
                <a:gd name="T0" fmla="*/ 167555369 w 26"/>
                <a:gd name="T1" fmla="*/ 2147483647 h 111"/>
                <a:gd name="T2" fmla="*/ 115991401 w 26"/>
                <a:gd name="T3" fmla="*/ 2147483647 h 111"/>
                <a:gd name="T4" fmla="*/ 51563953 w 26"/>
                <a:gd name="T5" fmla="*/ 2147483647 h 111"/>
                <a:gd name="T6" fmla="*/ 25781859 w 26"/>
                <a:gd name="T7" fmla="*/ 2147483647 h 111"/>
                <a:gd name="T8" fmla="*/ 12863498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12863498 w 26"/>
                <a:gd name="T17" fmla="*/ 2147483647 h 111"/>
                <a:gd name="T18" fmla="*/ 38645361 w 26"/>
                <a:gd name="T19" fmla="*/ 2147483647 h 111"/>
                <a:gd name="T20" fmla="*/ 64427462 w 26"/>
                <a:gd name="T21" fmla="*/ 2147483647 h 111"/>
                <a:gd name="T22" fmla="*/ 115991401 w 26"/>
                <a:gd name="T23" fmla="*/ 2147483647 h 111"/>
                <a:gd name="T24" fmla="*/ 180418863 w 26"/>
                <a:gd name="T25" fmla="*/ 2073633268 h 111"/>
                <a:gd name="T26" fmla="*/ 257764712 w 26"/>
                <a:gd name="T27" fmla="*/ 1097690149 h 111"/>
                <a:gd name="T28" fmla="*/ 335110738 w 26"/>
                <a:gd name="T29" fmla="*/ 0 h 111"/>
                <a:gd name="T30" fmla="*/ 335110738 w 26"/>
                <a:gd name="T31" fmla="*/ 731957339 h 111"/>
                <a:gd name="T32" fmla="*/ 335110738 w 26"/>
                <a:gd name="T33" fmla="*/ 1585661212 h 111"/>
                <a:gd name="T34" fmla="*/ 335110738 w 26"/>
                <a:gd name="T35" fmla="*/ 2147483647 h 111"/>
                <a:gd name="T36" fmla="*/ 335110738 w 26"/>
                <a:gd name="T37" fmla="*/ 2147483647 h 111"/>
                <a:gd name="T38" fmla="*/ 322247244 w 26"/>
                <a:gd name="T39" fmla="*/ 2147483647 h 111"/>
                <a:gd name="T40" fmla="*/ 283546799 w 26"/>
                <a:gd name="T41" fmla="*/ 2147483647 h 111"/>
                <a:gd name="T42" fmla="*/ 231982802 w 26"/>
                <a:gd name="T43" fmla="*/ 2147483647 h 111"/>
                <a:gd name="T44" fmla="*/ 167555369 w 26"/>
                <a:gd name="T45" fmla="*/ 2147483647 h 111"/>
                <a:gd name="T46" fmla="*/ 167555369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89" name="Freeform 10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194434" y="6295473"/>
              <a:ext cx="51815" cy="56579"/>
            </a:xfrm>
            <a:custGeom>
              <a:avLst/>
              <a:gdLst>
                <a:gd name="T0" fmla="*/ 0 w 126"/>
                <a:gd name="T1" fmla="*/ 2147483647 h 62"/>
                <a:gd name="T2" fmla="*/ 765054664 w 126"/>
                <a:gd name="T3" fmla="*/ 2147483647 h 62"/>
                <a:gd name="T4" fmla="*/ 1460436264 w 126"/>
                <a:gd name="T5" fmla="*/ 2147483647 h 62"/>
                <a:gd name="T6" fmla="*/ 2016807916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0" name="Freeform 10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404203" y="6139500"/>
              <a:ext cx="28956" cy="53521"/>
            </a:xfrm>
            <a:custGeom>
              <a:avLst/>
              <a:gdLst>
                <a:gd name="T0" fmla="*/ 0 w 66"/>
                <a:gd name="T1" fmla="*/ 0 h 44"/>
                <a:gd name="T2" fmla="*/ 1097722769 w 66"/>
                <a:gd name="T3" fmla="*/ 1799188681 h 44"/>
                <a:gd name="T4" fmla="*/ 1942331606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1773332623 w 66"/>
                <a:gd name="T33" fmla="*/ 2147483647 h 44"/>
                <a:gd name="T34" fmla="*/ 844416895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1" name="Freeform 107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8472243" y="3029213"/>
              <a:ext cx="19811" cy="55049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077004362 w 46"/>
                <a:gd name="T11" fmla="*/ 2147483647 h 16"/>
                <a:gd name="T12" fmla="*/ 1837365417 w 46"/>
                <a:gd name="T13" fmla="*/ 2147483647 h 16"/>
                <a:gd name="T14" fmla="*/ 1278142848 w 46"/>
                <a:gd name="T15" fmla="*/ 2147483647 h 16"/>
                <a:gd name="T16" fmla="*/ 878618635 w 46"/>
                <a:gd name="T17" fmla="*/ 2147483647 h 16"/>
                <a:gd name="T18" fmla="*/ 399338485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2" name="Freeform 108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641404" y="3061325"/>
              <a:ext cx="15240" cy="55049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1909520453 w 39"/>
                <a:gd name="T5" fmla="*/ 2147483647 h 26"/>
                <a:gd name="T6" fmla="*/ 1670849642 w 39"/>
                <a:gd name="T7" fmla="*/ 2147483647 h 26"/>
                <a:gd name="T8" fmla="*/ 1491731647 w 39"/>
                <a:gd name="T9" fmla="*/ 2147483647 h 26"/>
                <a:gd name="T10" fmla="*/ 1074095632 w 39"/>
                <a:gd name="T11" fmla="*/ 2147483647 h 26"/>
                <a:gd name="T12" fmla="*/ 716013020 w 39"/>
                <a:gd name="T13" fmla="*/ 2147483647 h 26"/>
                <a:gd name="T14" fmla="*/ 417636210 w 39"/>
                <a:gd name="T15" fmla="*/ 2147483647 h 26"/>
                <a:gd name="T16" fmla="*/ 178965253 w 39"/>
                <a:gd name="T17" fmla="*/ 2147483647 h 26"/>
                <a:gd name="T18" fmla="*/ 59706023 w 39"/>
                <a:gd name="T19" fmla="*/ 2147483647 h 26"/>
                <a:gd name="T20" fmla="*/ 0 w 39"/>
                <a:gd name="T21" fmla="*/ 0 h 26"/>
                <a:gd name="T22" fmla="*/ 656307022 w 39"/>
                <a:gd name="T23" fmla="*/ 2147483647 h 26"/>
                <a:gd name="T24" fmla="*/ 1312766443 w 39"/>
                <a:gd name="T25" fmla="*/ 2147483647 h 26"/>
                <a:gd name="T26" fmla="*/ 1969073660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3" name="Freeform 109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8112584" y="3283051"/>
              <a:ext cx="4571" cy="56579"/>
            </a:xfrm>
            <a:custGeom>
              <a:avLst/>
              <a:gdLst>
                <a:gd name="T0" fmla="*/ 789311072 w 11"/>
                <a:gd name="T1" fmla="*/ 0 h 25"/>
                <a:gd name="T2" fmla="*/ 789311072 w 11"/>
                <a:gd name="T3" fmla="*/ 2147483647 h 25"/>
                <a:gd name="T4" fmla="*/ 717477001 w 11"/>
                <a:gd name="T5" fmla="*/ 2147483647 h 25"/>
                <a:gd name="T6" fmla="*/ 645815797 w 11"/>
                <a:gd name="T7" fmla="*/ 2147483647 h 25"/>
                <a:gd name="T8" fmla="*/ 286991070 w 11"/>
                <a:gd name="T9" fmla="*/ 2147483647 h 25"/>
                <a:gd name="T10" fmla="*/ 143495327 w 11"/>
                <a:gd name="T11" fmla="*/ 2147483647 h 25"/>
                <a:gd name="T12" fmla="*/ 7183409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71834097 w 11"/>
                <a:gd name="T19" fmla="*/ 2147483647 h 25"/>
                <a:gd name="T20" fmla="*/ 215329399 w 11"/>
                <a:gd name="T21" fmla="*/ 2147483647 h 25"/>
                <a:gd name="T22" fmla="*/ 430486346 w 11"/>
                <a:gd name="T23" fmla="*/ 2147483647 h 25"/>
                <a:gd name="T24" fmla="*/ 78931107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4" name="Freeform 110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934278" y="3824370"/>
              <a:ext cx="13716" cy="56579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161273283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322640745 w 20"/>
                <a:gd name="T13" fmla="*/ 2147483647 h 31"/>
                <a:gd name="T14" fmla="*/ 645281490 w 20"/>
                <a:gd name="T15" fmla="*/ 2147483647 h 31"/>
                <a:gd name="T16" fmla="*/ 161273283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5" name="Freeform 11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951042" y="3761675"/>
              <a:ext cx="15240" cy="55049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1208357851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6" name="Freeform 112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844364" y="3616406"/>
              <a:ext cx="1523" cy="58108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72094694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7" name="Freeform 113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4822313" y="2775374"/>
              <a:ext cx="9144" cy="55049"/>
            </a:xfrm>
            <a:custGeom>
              <a:avLst/>
              <a:gdLst>
                <a:gd name="T0" fmla="*/ 0 w 33"/>
                <a:gd name="T1" fmla="*/ 2147483647 h 31"/>
                <a:gd name="T2" fmla="*/ 404243445 w 33"/>
                <a:gd name="T3" fmla="*/ 0 h 31"/>
                <a:gd name="T4" fmla="*/ 510582852 w 33"/>
                <a:gd name="T5" fmla="*/ 2147483647 h 31"/>
                <a:gd name="T6" fmla="*/ 595731047 w 33"/>
                <a:gd name="T7" fmla="*/ 2147483647 h 31"/>
                <a:gd name="T8" fmla="*/ 680802351 w 33"/>
                <a:gd name="T9" fmla="*/ 2147483647 h 31"/>
                <a:gd name="T10" fmla="*/ 702070176 w 33"/>
                <a:gd name="T11" fmla="*/ 2147483647 h 31"/>
                <a:gd name="T12" fmla="*/ 574386329 w 33"/>
                <a:gd name="T13" fmla="*/ 2147483647 h 31"/>
                <a:gd name="T14" fmla="*/ 468046923 w 33"/>
                <a:gd name="T15" fmla="*/ 2147483647 h 31"/>
                <a:gd name="T16" fmla="*/ 340362937 w 33"/>
                <a:gd name="T17" fmla="*/ 2147483647 h 31"/>
                <a:gd name="T18" fmla="*/ 234023461 w 33"/>
                <a:gd name="T19" fmla="*/ 2147483647 h 31"/>
                <a:gd name="T20" fmla="*/ 63803772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8" name="Freeform 114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808598" y="2552119"/>
              <a:ext cx="3048" cy="55049"/>
            </a:xfrm>
            <a:custGeom>
              <a:avLst/>
              <a:gdLst>
                <a:gd name="T0" fmla="*/ 144473691 w 14"/>
                <a:gd name="T1" fmla="*/ 0 h 6"/>
                <a:gd name="T2" fmla="*/ 0 w 14"/>
                <a:gd name="T3" fmla="*/ 2147483647 h 6"/>
                <a:gd name="T4" fmla="*/ 144473691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99" name="Freeform 115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6230470" y="4264764"/>
              <a:ext cx="24384" cy="5352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17837469 w 59"/>
                <a:gd name="T15" fmla="*/ 2147483647 h 31"/>
                <a:gd name="T16" fmla="*/ 1835322039 w 59"/>
                <a:gd name="T17" fmla="*/ 2147483647 h 31"/>
                <a:gd name="T18" fmla="*/ 1482434816 w 59"/>
                <a:gd name="T19" fmla="*/ 2147483647 h 31"/>
                <a:gd name="T20" fmla="*/ 1200090486 w 59"/>
                <a:gd name="T21" fmla="*/ 2147483647 h 31"/>
                <a:gd name="T22" fmla="*/ 988289464 w 59"/>
                <a:gd name="T23" fmla="*/ 2147483647 h 31"/>
                <a:gd name="T24" fmla="*/ 776489061 w 59"/>
                <a:gd name="T25" fmla="*/ 2147483647 h 31"/>
                <a:gd name="T26" fmla="*/ 282344019 w 59"/>
                <a:gd name="T27" fmla="*/ 2147483647 h 31"/>
                <a:gd name="T28" fmla="*/ 0 w 59"/>
                <a:gd name="T29" fmla="*/ 2147483647 h 31"/>
                <a:gd name="T30" fmla="*/ 70543333 w 59"/>
                <a:gd name="T31" fmla="*/ 2147483647 h 31"/>
                <a:gd name="T32" fmla="*/ 211800661 w 59"/>
                <a:gd name="T33" fmla="*/ 2147483647 h 31"/>
                <a:gd name="T34" fmla="*/ 352887326 w 59"/>
                <a:gd name="T35" fmla="*/ 2147483647 h 31"/>
                <a:gd name="T36" fmla="*/ 564688452 w 59"/>
                <a:gd name="T37" fmla="*/ 2147483647 h 31"/>
                <a:gd name="T38" fmla="*/ 1129547179 w 59"/>
                <a:gd name="T39" fmla="*/ 2147483647 h 31"/>
                <a:gd name="T40" fmla="*/ 1694235011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00" name="Freeform 116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945486" y="4131729"/>
              <a:ext cx="18288" cy="56578"/>
            </a:xfrm>
            <a:custGeom>
              <a:avLst/>
              <a:gdLst>
                <a:gd name="T0" fmla="*/ 824696314 w 47"/>
                <a:gd name="T1" fmla="*/ 0 h 68"/>
                <a:gd name="T2" fmla="*/ 471319934 w 47"/>
                <a:gd name="T3" fmla="*/ 2147483647 h 68"/>
                <a:gd name="T4" fmla="*/ 235584480 w 47"/>
                <a:gd name="T5" fmla="*/ 2147483647 h 68"/>
                <a:gd name="T6" fmla="*/ 117792240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117792240 w 47"/>
                <a:gd name="T13" fmla="*/ 2147483647 h 68"/>
                <a:gd name="T14" fmla="*/ 176688141 w 47"/>
                <a:gd name="T15" fmla="*/ 2147483647 h 68"/>
                <a:gd name="T16" fmla="*/ 294631744 w 47"/>
                <a:gd name="T17" fmla="*/ 2147483647 h 68"/>
                <a:gd name="T18" fmla="*/ 412424033 w 47"/>
                <a:gd name="T19" fmla="*/ 2147483647 h 68"/>
                <a:gd name="T20" fmla="*/ 530216224 w 47"/>
                <a:gd name="T21" fmla="*/ 2147483647 h 68"/>
                <a:gd name="T22" fmla="*/ 765800218 w 47"/>
                <a:gd name="T23" fmla="*/ 2147483647 h 68"/>
                <a:gd name="T24" fmla="*/ 942639868 w 47"/>
                <a:gd name="T25" fmla="*/ 2147483647 h 68"/>
                <a:gd name="T26" fmla="*/ 1296016053 w 47"/>
                <a:gd name="T27" fmla="*/ 2147483647 h 68"/>
                <a:gd name="T28" fmla="*/ 1826232083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20863341 w 47"/>
                <a:gd name="T39" fmla="*/ 2147483647 h 68"/>
                <a:gd name="T40" fmla="*/ 2061968218 w 47"/>
                <a:gd name="T41" fmla="*/ 2147483647 h 68"/>
                <a:gd name="T42" fmla="*/ 1944174859 w 47"/>
                <a:gd name="T43" fmla="*/ 2147483647 h 68"/>
                <a:gd name="T44" fmla="*/ 1944174859 w 47"/>
                <a:gd name="T45" fmla="*/ 2147483647 h 68"/>
                <a:gd name="T46" fmla="*/ 1413959607 w 47"/>
                <a:gd name="T47" fmla="*/ 2147483647 h 68"/>
                <a:gd name="T48" fmla="*/ 82469631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201" name="Group 117"/>
            <p:cNvGrpSpPr>
              <a:grpSpLocks/>
            </p:cNvGrpSpPr>
            <p:nvPr>
              <p:custDataLst>
                <p:tags r:id="rId87"/>
              </p:custDataLst>
            </p:nvPr>
          </p:nvGrpSpPr>
          <p:grpSpPr bwMode="auto">
            <a:xfrm>
              <a:off x="6687537" y="4312031"/>
              <a:ext cx="44208" cy="360865"/>
              <a:chOff x="3950" y="2430"/>
              <a:chExt cx="36" cy="234"/>
            </a:xfrm>
          </p:grpSpPr>
          <p:sp>
            <p:nvSpPr>
              <p:cNvPr id="4557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1 h 20"/>
                  <a:gd name="T4" fmla="*/ 1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8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9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1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0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endParaRPr lang="he-IL" altLang="el-GR"/>
              </a:p>
            </p:txBody>
          </p:sp>
          <p:sp>
            <p:nvSpPr>
              <p:cNvPr id="4561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2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3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 w 14"/>
                  <a:gd name="T1" fmla="*/ 0 h 24"/>
                  <a:gd name="T2" fmla="*/ 1 w 14"/>
                  <a:gd name="T3" fmla="*/ 0 h 24"/>
                  <a:gd name="T4" fmla="*/ 0 w 14"/>
                  <a:gd name="T5" fmla="*/ 0 h 24"/>
                  <a:gd name="T6" fmla="*/ 0 w 14"/>
                  <a:gd name="T7" fmla="*/ 1 h 24"/>
                  <a:gd name="T8" fmla="*/ 0 w 14"/>
                  <a:gd name="T9" fmla="*/ 1 h 24"/>
                  <a:gd name="T10" fmla="*/ 0 w 14"/>
                  <a:gd name="T11" fmla="*/ 1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4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5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6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7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8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1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9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 h 19"/>
                  <a:gd name="T4" fmla="*/ 0 w 6"/>
                  <a:gd name="T5" fmla="*/ 1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0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1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1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2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1 h 20"/>
                  <a:gd name="T4" fmla="*/ 1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"/>
                  <a:gd name="T22" fmla="*/ 0 h 20"/>
                  <a:gd name="T23" fmla="*/ 19 w 19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3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4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1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"/>
                  <a:gd name="T17" fmla="*/ 19 w 19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5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MS PGothic" pitchFamily="34" charset="-128"/>
                  </a:defRPr>
                </a:lvl9pPr>
              </a:lstStyle>
              <a:p>
                <a:endParaRPr lang="he-IL" altLang="el-GR"/>
              </a:p>
            </p:txBody>
          </p:sp>
          <p:sp>
            <p:nvSpPr>
              <p:cNvPr id="4576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7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3"/>
                  <a:gd name="T23" fmla="*/ 6 w 6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8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 w 14"/>
                  <a:gd name="T1" fmla="*/ 0 h 24"/>
                  <a:gd name="T2" fmla="*/ 1 w 14"/>
                  <a:gd name="T3" fmla="*/ 0 h 24"/>
                  <a:gd name="T4" fmla="*/ 0 w 14"/>
                  <a:gd name="T5" fmla="*/ 0 h 24"/>
                  <a:gd name="T6" fmla="*/ 0 w 14"/>
                  <a:gd name="T7" fmla="*/ 1 h 24"/>
                  <a:gd name="T8" fmla="*/ 0 w 14"/>
                  <a:gd name="T9" fmla="*/ 1 h 24"/>
                  <a:gd name="T10" fmla="*/ 0 w 14"/>
                  <a:gd name="T11" fmla="*/ 1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4"/>
                  <a:gd name="T23" fmla="*/ 14 w 14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9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0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2"/>
                  <a:gd name="T11" fmla="*/ 13 w 13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1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9"/>
                  <a:gd name="T14" fmla="*/ 7 w 7"/>
                  <a:gd name="T15" fmla="*/ 19 h 1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2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3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1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8"/>
                  <a:gd name="T14" fmla="*/ 8 w 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4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 h 19"/>
                  <a:gd name="T4" fmla="*/ 0 w 6"/>
                  <a:gd name="T5" fmla="*/ 1 h 1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9"/>
                  <a:gd name="T11" fmla="*/ 6 w 6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5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1 w 28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28"/>
                  <a:gd name="T10" fmla="*/ 0 h 19"/>
                  <a:gd name="T11" fmla="*/ 28 w 28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6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9"/>
                  <a:gd name="T11" fmla="*/ 15 w 15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87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 w 20"/>
                  <a:gd name="T1" fmla="*/ 1 h 18"/>
                  <a:gd name="T2" fmla="*/ 1 w 20"/>
                  <a:gd name="T3" fmla="*/ 0 h 18"/>
                  <a:gd name="T4" fmla="*/ 0 w 20"/>
                  <a:gd name="T5" fmla="*/ 0 h 18"/>
                  <a:gd name="T6" fmla="*/ 1 w 20"/>
                  <a:gd name="T7" fmla="*/ 1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8"/>
                  <a:gd name="T14" fmla="*/ 20 w 2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grpSp>
          <p:nvGrpSpPr>
            <p:cNvPr id="4202" name="Group 149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8668951" y="4793807"/>
              <a:ext cx="178309" cy="206434"/>
              <a:chOff x="5486" y="2743"/>
              <a:chExt cx="137" cy="132"/>
            </a:xfrm>
          </p:grpSpPr>
          <p:sp>
            <p:nvSpPr>
              <p:cNvPr id="4548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 h 87"/>
                  <a:gd name="T2" fmla="*/ 0 w 40"/>
                  <a:gd name="T3" fmla="*/ 2 h 87"/>
                  <a:gd name="T4" fmla="*/ 0 w 40"/>
                  <a:gd name="T5" fmla="*/ 2 h 87"/>
                  <a:gd name="T6" fmla="*/ 0 w 40"/>
                  <a:gd name="T7" fmla="*/ 2 h 87"/>
                  <a:gd name="T8" fmla="*/ 0 w 40"/>
                  <a:gd name="T9" fmla="*/ 2 h 87"/>
                  <a:gd name="T10" fmla="*/ 1 w 40"/>
                  <a:gd name="T11" fmla="*/ 2 h 87"/>
                  <a:gd name="T12" fmla="*/ 1 w 40"/>
                  <a:gd name="T13" fmla="*/ 3 h 87"/>
                  <a:gd name="T14" fmla="*/ 1 w 40"/>
                  <a:gd name="T15" fmla="*/ 3 h 87"/>
                  <a:gd name="T16" fmla="*/ 1 w 40"/>
                  <a:gd name="T17" fmla="*/ 3 h 87"/>
                  <a:gd name="T18" fmla="*/ 1 w 40"/>
                  <a:gd name="T19" fmla="*/ 3 h 87"/>
                  <a:gd name="T20" fmla="*/ 1 w 40"/>
                  <a:gd name="T21" fmla="*/ 3 h 87"/>
                  <a:gd name="T22" fmla="*/ 1 w 40"/>
                  <a:gd name="T23" fmla="*/ 2 h 87"/>
                  <a:gd name="T24" fmla="*/ 1 w 40"/>
                  <a:gd name="T25" fmla="*/ 2 h 87"/>
                  <a:gd name="T26" fmla="*/ 1 w 40"/>
                  <a:gd name="T27" fmla="*/ 2 h 87"/>
                  <a:gd name="T28" fmla="*/ 1 w 40"/>
                  <a:gd name="T29" fmla="*/ 1 h 87"/>
                  <a:gd name="T30" fmla="*/ 1 w 40"/>
                  <a:gd name="T31" fmla="*/ 1 h 87"/>
                  <a:gd name="T32" fmla="*/ 0 w 40"/>
                  <a:gd name="T33" fmla="*/ 1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1 h 87"/>
                  <a:gd name="T46" fmla="*/ 0 w 40"/>
                  <a:gd name="T47" fmla="*/ 1 h 87"/>
                  <a:gd name="T48" fmla="*/ 0 w 40"/>
                  <a:gd name="T49" fmla="*/ 1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0"/>
                  <a:gd name="T76" fmla="*/ 0 h 87"/>
                  <a:gd name="T77" fmla="*/ 40 w 40"/>
                  <a:gd name="T78" fmla="*/ 87 h 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9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 h 37"/>
                  <a:gd name="T2" fmla="*/ 1 w 61"/>
                  <a:gd name="T3" fmla="*/ 1 h 37"/>
                  <a:gd name="T4" fmla="*/ 1 w 61"/>
                  <a:gd name="T5" fmla="*/ 1 h 37"/>
                  <a:gd name="T6" fmla="*/ 2 w 61"/>
                  <a:gd name="T7" fmla="*/ 1 h 37"/>
                  <a:gd name="T8" fmla="*/ 2 w 61"/>
                  <a:gd name="T9" fmla="*/ 1 h 37"/>
                  <a:gd name="T10" fmla="*/ 2 w 61"/>
                  <a:gd name="T11" fmla="*/ 1 h 37"/>
                  <a:gd name="T12" fmla="*/ 2 w 61"/>
                  <a:gd name="T13" fmla="*/ 1 h 37"/>
                  <a:gd name="T14" fmla="*/ 2 w 61"/>
                  <a:gd name="T15" fmla="*/ 1 h 37"/>
                  <a:gd name="T16" fmla="*/ 1 w 61"/>
                  <a:gd name="T17" fmla="*/ 0 h 37"/>
                  <a:gd name="T18" fmla="*/ 1 w 61"/>
                  <a:gd name="T19" fmla="*/ 0 h 37"/>
                  <a:gd name="T20" fmla="*/ 1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1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1"/>
                  <a:gd name="T43" fmla="*/ 0 h 37"/>
                  <a:gd name="T44" fmla="*/ 61 w 61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0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 w 40"/>
                  <a:gd name="T1" fmla="*/ 1 h 30"/>
                  <a:gd name="T2" fmla="*/ 1 w 40"/>
                  <a:gd name="T3" fmla="*/ 1 h 30"/>
                  <a:gd name="T4" fmla="*/ 1 w 40"/>
                  <a:gd name="T5" fmla="*/ 1 h 30"/>
                  <a:gd name="T6" fmla="*/ 1 w 40"/>
                  <a:gd name="T7" fmla="*/ 1 h 30"/>
                  <a:gd name="T8" fmla="*/ 1 w 40"/>
                  <a:gd name="T9" fmla="*/ 1 h 30"/>
                  <a:gd name="T10" fmla="*/ 0 w 40"/>
                  <a:gd name="T11" fmla="*/ 1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1 w 40"/>
                  <a:gd name="T21" fmla="*/ 0 h 30"/>
                  <a:gd name="T22" fmla="*/ 1 w 40"/>
                  <a:gd name="T23" fmla="*/ 0 h 30"/>
                  <a:gd name="T24" fmla="*/ 1 w 40"/>
                  <a:gd name="T25" fmla="*/ 1 h 30"/>
                  <a:gd name="T26" fmla="*/ 1 w 40"/>
                  <a:gd name="T27" fmla="*/ 1 h 30"/>
                  <a:gd name="T28" fmla="*/ 1 w 40"/>
                  <a:gd name="T29" fmla="*/ 1 h 30"/>
                  <a:gd name="T30" fmla="*/ 1 w 40"/>
                  <a:gd name="T31" fmla="*/ 1 h 30"/>
                  <a:gd name="T32" fmla="*/ 1 w 40"/>
                  <a:gd name="T33" fmla="*/ 1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30"/>
                  <a:gd name="T53" fmla="*/ 40 w 40"/>
                  <a:gd name="T54" fmla="*/ 30 h 3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1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3 w 74"/>
                  <a:gd name="T1" fmla="*/ 3 h 80"/>
                  <a:gd name="T2" fmla="*/ 2 w 74"/>
                  <a:gd name="T3" fmla="*/ 3 h 80"/>
                  <a:gd name="T4" fmla="*/ 2 w 74"/>
                  <a:gd name="T5" fmla="*/ 2 h 80"/>
                  <a:gd name="T6" fmla="*/ 2 w 74"/>
                  <a:gd name="T7" fmla="*/ 2 h 80"/>
                  <a:gd name="T8" fmla="*/ 2 w 74"/>
                  <a:gd name="T9" fmla="*/ 2 h 80"/>
                  <a:gd name="T10" fmla="*/ 2 w 74"/>
                  <a:gd name="T11" fmla="*/ 2 h 80"/>
                  <a:gd name="T12" fmla="*/ 2 w 74"/>
                  <a:gd name="T13" fmla="*/ 1 h 80"/>
                  <a:gd name="T14" fmla="*/ 1 w 74"/>
                  <a:gd name="T15" fmla="*/ 1 h 80"/>
                  <a:gd name="T16" fmla="*/ 1 w 74"/>
                  <a:gd name="T17" fmla="*/ 1 h 80"/>
                  <a:gd name="T18" fmla="*/ 1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1 h 80"/>
                  <a:gd name="T28" fmla="*/ 0 w 74"/>
                  <a:gd name="T29" fmla="*/ 1 h 80"/>
                  <a:gd name="T30" fmla="*/ 0 w 74"/>
                  <a:gd name="T31" fmla="*/ 1 h 80"/>
                  <a:gd name="T32" fmla="*/ 0 w 74"/>
                  <a:gd name="T33" fmla="*/ 1 h 80"/>
                  <a:gd name="T34" fmla="*/ 0 w 74"/>
                  <a:gd name="T35" fmla="*/ 1 h 80"/>
                  <a:gd name="T36" fmla="*/ 0 w 74"/>
                  <a:gd name="T37" fmla="*/ 1 h 80"/>
                  <a:gd name="T38" fmla="*/ 0 w 74"/>
                  <a:gd name="T39" fmla="*/ 2 h 80"/>
                  <a:gd name="T40" fmla="*/ 1 w 74"/>
                  <a:gd name="T41" fmla="*/ 2 h 80"/>
                  <a:gd name="T42" fmla="*/ 1 w 74"/>
                  <a:gd name="T43" fmla="*/ 2 h 80"/>
                  <a:gd name="T44" fmla="*/ 1 w 74"/>
                  <a:gd name="T45" fmla="*/ 2 h 80"/>
                  <a:gd name="T46" fmla="*/ 1 w 74"/>
                  <a:gd name="T47" fmla="*/ 2 h 80"/>
                  <a:gd name="T48" fmla="*/ 1 w 74"/>
                  <a:gd name="T49" fmla="*/ 2 h 80"/>
                  <a:gd name="T50" fmla="*/ 2 w 74"/>
                  <a:gd name="T51" fmla="*/ 2 h 80"/>
                  <a:gd name="T52" fmla="*/ 2 w 74"/>
                  <a:gd name="T53" fmla="*/ 3 h 80"/>
                  <a:gd name="T54" fmla="*/ 2 w 74"/>
                  <a:gd name="T55" fmla="*/ 3 h 80"/>
                  <a:gd name="T56" fmla="*/ 2 w 74"/>
                  <a:gd name="T57" fmla="*/ 3 h 80"/>
                  <a:gd name="T58" fmla="*/ 2 w 74"/>
                  <a:gd name="T59" fmla="*/ 3 h 80"/>
                  <a:gd name="T60" fmla="*/ 3 w 74"/>
                  <a:gd name="T61" fmla="*/ 3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74"/>
                  <a:gd name="T94" fmla="*/ 0 h 80"/>
                  <a:gd name="T95" fmla="*/ 74 w 74"/>
                  <a:gd name="T96" fmla="*/ 80 h 8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2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2 w 86"/>
                  <a:gd name="T1" fmla="*/ 3 h 80"/>
                  <a:gd name="T2" fmla="*/ 2 w 86"/>
                  <a:gd name="T3" fmla="*/ 3 h 80"/>
                  <a:gd name="T4" fmla="*/ 2 w 86"/>
                  <a:gd name="T5" fmla="*/ 2 h 80"/>
                  <a:gd name="T6" fmla="*/ 2 w 86"/>
                  <a:gd name="T7" fmla="*/ 2 h 80"/>
                  <a:gd name="T8" fmla="*/ 2 w 86"/>
                  <a:gd name="T9" fmla="*/ 2 h 80"/>
                  <a:gd name="T10" fmla="*/ 2 w 86"/>
                  <a:gd name="T11" fmla="*/ 2 h 80"/>
                  <a:gd name="T12" fmla="*/ 2 w 86"/>
                  <a:gd name="T13" fmla="*/ 2 h 80"/>
                  <a:gd name="T14" fmla="*/ 2 w 86"/>
                  <a:gd name="T15" fmla="*/ 2 h 80"/>
                  <a:gd name="T16" fmla="*/ 1 w 86"/>
                  <a:gd name="T17" fmla="*/ 1 h 80"/>
                  <a:gd name="T18" fmla="*/ 1 w 86"/>
                  <a:gd name="T19" fmla="*/ 1 h 80"/>
                  <a:gd name="T20" fmla="*/ 1 w 86"/>
                  <a:gd name="T21" fmla="*/ 1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1 h 80"/>
                  <a:gd name="T30" fmla="*/ 0 w 86"/>
                  <a:gd name="T31" fmla="*/ 1 h 80"/>
                  <a:gd name="T32" fmla="*/ 1 w 86"/>
                  <a:gd name="T33" fmla="*/ 2 h 80"/>
                  <a:gd name="T34" fmla="*/ 1 w 86"/>
                  <a:gd name="T35" fmla="*/ 2 h 80"/>
                  <a:gd name="T36" fmla="*/ 1 w 86"/>
                  <a:gd name="T37" fmla="*/ 3 h 80"/>
                  <a:gd name="T38" fmla="*/ 1 w 86"/>
                  <a:gd name="T39" fmla="*/ 3 h 80"/>
                  <a:gd name="T40" fmla="*/ 1 w 86"/>
                  <a:gd name="T41" fmla="*/ 3 h 80"/>
                  <a:gd name="T42" fmla="*/ 2 w 86"/>
                  <a:gd name="T43" fmla="*/ 3 h 80"/>
                  <a:gd name="T44" fmla="*/ 2 w 86"/>
                  <a:gd name="T45" fmla="*/ 3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86"/>
                  <a:gd name="T70" fmla="*/ 0 h 80"/>
                  <a:gd name="T71" fmla="*/ 86 w 86"/>
                  <a:gd name="T72" fmla="*/ 80 h 8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3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1 h 31"/>
                  <a:gd name="T6" fmla="*/ 0 w 74"/>
                  <a:gd name="T7" fmla="*/ 1 h 31"/>
                  <a:gd name="T8" fmla="*/ 1 w 74"/>
                  <a:gd name="T9" fmla="*/ 1 h 31"/>
                  <a:gd name="T10" fmla="*/ 1 w 74"/>
                  <a:gd name="T11" fmla="*/ 1 h 31"/>
                  <a:gd name="T12" fmla="*/ 1 w 74"/>
                  <a:gd name="T13" fmla="*/ 1 h 31"/>
                  <a:gd name="T14" fmla="*/ 1 w 74"/>
                  <a:gd name="T15" fmla="*/ 1 h 31"/>
                  <a:gd name="T16" fmla="*/ 1 w 74"/>
                  <a:gd name="T17" fmla="*/ 1 h 31"/>
                  <a:gd name="T18" fmla="*/ 2 w 74"/>
                  <a:gd name="T19" fmla="*/ 1 h 31"/>
                  <a:gd name="T20" fmla="*/ 2 w 74"/>
                  <a:gd name="T21" fmla="*/ 1 h 31"/>
                  <a:gd name="T22" fmla="*/ 2 w 74"/>
                  <a:gd name="T23" fmla="*/ 1 h 31"/>
                  <a:gd name="T24" fmla="*/ 3 w 74"/>
                  <a:gd name="T25" fmla="*/ 1 h 31"/>
                  <a:gd name="T26" fmla="*/ 3 w 74"/>
                  <a:gd name="T27" fmla="*/ 1 h 31"/>
                  <a:gd name="T28" fmla="*/ 3 w 74"/>
                  <a:gd name="T29" fmla="*/ 1 h 31"/>
                  <a:gd name="T30" fmla="*/ 2 w 74"/>
                  <a:gd name="T31" fmla="*/ 1 h 31"/>
                  <a:gd name="T32" fmla="*/ 2 w 74"/>
                  <a:gd name="T33" fmla="*/ 1 h 31"/>
                  <a:gd name="T34" fmla="*/ 2 w 74"/>
                  <a:gd name="T35" fmla="*/ 0 h 31"/>
                  <a:gd name="T36" fmla="*/ 2 w 74"/>
                  <a:gd name="T37" fmla="*/ 0 h 31"/>
                  <a:gd name="T38" fmla="*/ 2 w 74"/>
                  <a:gd name="T39" fmla="*/ 0 h 31"/>
                  <a:gd name="T40" fmla="*/ 2 w 74"/>
                  <a:gd name="T41" fmla="*/ 0 h 31"/>
                  <a:gd name="T42" fmla="*/ 1 w 74"/>
                  <a:gd name="T43" fmla="*/ 0 h 31"/>
                  <a:gd name="T44" fmla="*/ 1 w 74"/>
                  <a:gd name="T45" fmla="*/ 0 h 31"/>
                  <a:gd name="T46" fmla="*/ 1 w 74"/>
                  <a:gd name="T47" fmla="*/ 0 h 31"/>
                  <a:gd name="T48" fmla="*/ 1 w 74"/>
                  <a:gd name="T49" fmla="*/ 0 h 31"/>
                  <a:gd name="T50" fmla="*/ 1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74"/>
                  <a:gd name="T88" fmla="*/ 0 h 31"/>
                  <a:gd name="T89" fmla="*/ 74 w 74"/>
                  <a:gd name="T90" fmla="*/ 31 h 3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4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1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1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"/>
                  <a:gd name="T14" fmla="*/ 20 w 20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5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1 h 65"/>
                  <a:gd name="T2" fmla="*/ 1 w 100"/>
                  <a:gd name="T3" fmla="*/ 1 h 65"/>
                  <a:gd name="T4" fmla="*/ 2 w 100"/>
                  <a:gd name="T5" fmla="*/ 2 h 65"/>
                  <a:gd name="T6" fmla="*/ 2 w 100"/>
                  <a:gd name="T7" fmla="*/ 2 h 65"/>
                  <a:gd name="T8" fmla="*/ 3 w 100"/>
                  <a:gd name="T9" fmla="*/ 2 h 65"/>
                  <a:gd name="T10" fmla="*/ 3 w 100"/>
                  <a:gd name="T11" fmla="*/ 2 h 65"/>
                  <a:gd name="T12" fmla="*/ 3 w 100"/>
                  <a:gd name="T13" fmla="*/ 2 h 65"/>
                  <a:gd name="T14" fmla="*/ 3 w 100"/>
                  <a:gd name="T15" fmla="*/ 2 h 65"/>
                  <a:gd name="T16" fmla="*/ 3 w 100"/>
                  <a:gd name="T17" fmla="*/ 2 h 65"/>
                  <a:gd name="T18" fmla="*/ 3 w 100"/>
                  <a:gd name="T19" fmla="*/ 2 h 65"/>
                  <a:gd name="T20" fmla="*/ 3 w 100"/>
                  <a:gd name="T21" fmla="*/ 2 h 65"/>
                  <a:gd name="T22" fmla="*/ 3 w 100"/>
                  <a:gd name="T23" fmla="*/ 2 h 65"/>
                  <a:gd name="T24" fmla="*/ 3 w 100"/>
                  <a:gd name="T25" fmla="*/ 2 h 65"/>
                  <a:gd name="T26" fmla="*/ 2 w 100"/>
                  <a:gd name="T27" fmla="*/ 1 h 65"/>
                  <a:gd name="T28" fmla="*/ 2 w 100"/>
                  <a:gd name="T29" fmla="*/ 1 h 65"/>
                  <a:gd name="T30" fmla="*/ 2 w 100"/>
                  <a:gd name="T31" fmla="*/ 1 h 65"/>
                  <a:gd name="T32" fmla="*/ 2 w 100"/>
                  <a:gd name="T33" fmla="*/ 0 h 65"/>
                  <a:gd name="T34" fmla="*/ 1 w 100"/>
                  <a:gd name="T35" fmla="*/ 0 h 65"/>
                  <a:gd name="T36" fmla="*/ 1 w 100"/>
                  <a:gd name="T37" fmla="*/ 0 h 65"/>
                  <a:gd name="T38" fmla="*/ 1 w 100"/>
                  <a:gd name="T39" fmla="*/ 0 h 65"/>
                  <a:gd name="T40" fmla="*/ 1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1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00"/>
                  <a:gd name="T73" fmla="*/ 0 h 65"/>
                  <a:gd name="T74" fmla="*/ 100 w 100"/>
                  <a:gd name="T75" fmla="*/ 65 h 6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56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 w 79"/>
                  <a:gd name="T1" fmla="*/ 3 h 104"/>
                  <a:gd name="T2" fmla="*/ 2 w 79"/>
                  <a:gd name="T3" fmla="*/ 2 h 104"/>
                  <a:gd name="T4" fmla="*/ 1 w 79"/>
                  <a:gd name="T5" fmla="*/ 1 h 104"/>
                  <a:gd name="T6" fmla="*/ 1 w 79"/>
                  <a:gd name="T7" fmla="*/ 1 h 104"/>
                  <a:gd name="T8" fmla="*/ 0 w 79"/>
                  <a:gd name="T9" fmla="*/ 0 h 104"/>
                  <a:gd name="T10" fmla="*/ 0 w 79"/>
                  <a:gd name="T11" fmla="*/ 1 h 104"/>
                  <a:gd name="T12" fmla="*/ 0 w 79"/>
                  <a:gd name="T13" fmla="*/ 1 h 104"/>
                  <a:gd name="T14" fmla="*/ 0 w 79"/>
                  <a:gd name="T15" fmla="*/ 1 h 104"/>
                  <a:gd name="T16" fmla="*/ 0 w 79"/>
                  <a:gd name="T17" fmla="*/ 2 h 104"/>
                  <a:gd name="T18" fmla="*/ 0 w 79"/>
                  <a:gd name="T19" fmla="*/ 2 h 104"/>
                  <a:gd name="T20" fmla="*/ 0 w 79"/>
                  <a:gd name="T21" fmla="*/ 2 h 104"/>
                  <a:gd name="T22" fmla="*/ 0 w 79"/>
                  <a:gd name="T23" fmla="*/ 2 h 104"/>
                  <a:gd name="T24" fmla="*/ 0 w 79"/>
                  <a:gd name="T25" fmla="*/ 3 h 104"/>
                  <a:gd name="T26" fmla="*/ 0 w 79"/>
                  <a:gd name="T27" fmla="*/ 3 h 104"/>
                  <a:gd name="T28" fmla="*/ 0 w 79"/>
                  <a:gd name="T29" fmla="*/ 3 h 104"/>
                  <a:gd name="T30" fmla="*/ 0 w 79"/>
                  <a:gd name="T31" fmla="*/ 3 h 104"/>
                  <a:gd name="T32" fmla="*/ 1 w 79"/>
                  <a:gd name="T33" fmla="*/ 3 h 104"/>
                  <a:gd name="T34" fmla="*/ 1 w 79"/>
                  <a:gd name="T35" fmla="*/ 3 h 104"/>
                  <a:gd name="T36" fmla="*/ 1 w 79"/>
                  <a:gd name="T37" fmla="*/ 3 h 104"/>
                  <a:gd name="T38" fmla="*/ 1 w 79"/>
                  <a:gd name="T39" fmla="*/ 3 h 104"/>
                  <a:gd name="T40" fmla="*/ 2 w 79"/>
                  <a:gd name="T41" fmla="*/ 3 h 104"/>
                  <a:gd name="T42" fmla="*/ 2 w 79"/>
                  <a:gd name="T43" fmla="*/ 4 h 104"/>
                  <a:gd name="T44" fmla="*/ 2 w 79"/>
                  <a:gd name="T45" fmla="*/ 4 h 104"/>
                  <a:gd name="T46" fmla="*/ 2 w 79"/>
                  <a:gd name="T47" fmla="*/ 3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9"/>
                  <a:gd name="T73" fmla="*/ 0 h 104"/>
                  <a:gd name="T74" fmla="*/ 79 w 79"/>
                  <a:gd name="T75" fmla="*/ 104 h 10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203" name="Freeform 15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160637" y="4541541"/>
              <a:ext cx="10668" cy="53520"/>
            </a:xfrm>
            <a:custGeom>
              <a:avLst/>
              <a:gdLst>
                <a:gd name="T0" fmla="*/ 1665411038 w 27"/>
                <a:gd name="T1" fmla="*/ 0 h 19"/>
                <a:gd name="T2" fmla="*/ 1665411038 w 27"/>
                <a:gd name="T3" fmla="*/ 2147483647 h 19"/>
                <a:gd name="T4" fmla="*/ 1665411038 w 27"/>
                <a:gd name="T5" fmla="*/ 2147483647 h 19"/>
                <a:gd name="T6" fmla="*/ 555137078 w 27"/>
                <a:gd name="T7" fmla="*/ 2147483647 h 19"/>
                <a:gd name="T8" fmla="*/ 0 w 27"/>
                <a:gd name="T9" fmla="*/ 2147483647 h 19"/>
                <a:gd name="T10" fmla="*/ 555137078 w 27"/>
                <a:gd name="T11" fmla="*/ 2147483647 h 19"/>
                <a:gd name="T12" fmla="*/ 1665411038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04" name="Freeform 16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087486" y="4676106"/>
              <a:ext cx="13716" cy="55049"/>
            </a:xfrm>
            <a:custGeom>
              <a:avLst/>
              <a:gdLst>
                <a:gd name="T0" fmla="*/ 0 w 39"/>
                <a:gd name="T1" fmla="*/ 0 h 35"/>
                <a:gd name="T2" fmla="*/ 1696497614 w 39"/>
                <a:gd name="T3" fmla="*/ 0 h 35"/>
                <a:gd name="T4" fmla="*/ 1566007158 w 39"/>
                <a:gd name="T5" fmla="*/ 2147483647 h 35"/>
                <a:gd name="T6" fmla="*/ 1435516350 w 39"/>
                <a:gd name="T7" fmla="*/ 2147483647 h 35"/>
                <a:gd name="T8" fmla="*/ 1174536141 w 39"/>
                <a:gd name="T9" fmla="*/ 2147483647 h 35"/>
                <a:gd name="T10" fmla="*/ 956969518 w 39"/>
                <a:gd name="T11" fmla="*/ 2147483647 h 35"/>
                <a:gd name="T12" fmla="*/ 826479765 w 39"/>
                <a:gd name="T13" fmla="*/ 2147483647 h 35"/>
                <a:gd name="T14" fmla="*/ 695989485 w 39"/>
                <a:gd name="T15" fmla="*/ 2147483647 h 35"/>
                <a:gd name="T16" fmla="*/ 565499029 w 39"/>
                <a:gd name="T17" fmla="*/ 2147483647 h 35"/>
                <a:gd name="T18" fmla="*/ 478547008 w 39"/>
                <a:gd name="T19" fmla="*/ 2147483647 h 35"/>
                <a:gd name="T20" fmla="*/ 304518380 w 39"/>
                <a:gd name="T21" fmla="*/ 2147483647 h 35"/>
                <a:gd name="T22" fmla="*/ 217442564 w 39"/>
                <a:gd name="T23" fmla="*/ 2147483647 h 35"/>
                <a:gd name="T24" fmla="*/ 86952394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05" name="Freeform 16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6814154" y="3064384"/>
              <a:ext cx="699506" cy="319591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91381557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84722998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06" name="Freeform 16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287667" y="4958997"/>
              <a:ext cx="315463" cy="400637"/>
            </a:xfrm>
            <a:custGeom>
              <a:avLst/>
              <a:gdLst>
                <a:gd name="T0" fmla="*/ 1874241656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383989659 h 795"/>
                <a:gd name="T112" fmla="*/ 2147483647 w 758"/>
                <a:gd name="T113" fmla="*/ 383989659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07" name="Freeform 16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493404" y="4410034"/>
              <a:ext cx="114299" cy="20796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1774664289 h 414"/>
                <a:gd name="T26" fmla="*/ 2147483647 w 273"/>
                <a:gd name="T27" fmla="*/ 633862783 h 414"/>
                <a:gd name="T28" fmla="*/ 2147483647 w 273"/>
                <a:gd name="T29" fmla="*/ 887206060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1247721239 w 273"/>
                <a:gd name="T45" fmla="*/ 2147483647 h 414"/>
                <a:gd name="T46" fmla="*/ 293612333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208" name="Group 164"/>
            <p:cNvGrpSpPr>
              <a:grpSpLocks/>
            </p:cNvGrpSpPr>
            <p:nvPr>
              <p:custDataLst>
                <p:tags r:id="rId94"/>
              </p:custDataLst>
            </p:nvPr>
          </p:nvGrpSpPr>
          <p:grpSpPr bwMode="auto">
            <a:xfrm>
              <a:off x="3219115" y="4250778"/>
              <a:ext cx="310897" cy="386850"/>
              <a:chOff x="1486" y="2412"/>
              <a:chExt cx="244" cy="256"/>
            </a:xfrm>
          </p:grpSpPr>
          <p:sp>
            <p:nvSpPr>
              <p:cNvPr id="4544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 h 22"/>
                  <a:gd name="T4" fmla="*/ 0 w 54"/>
                  <a:gd name="T5" fmla="*/ 1 h 22"/>
                  <a:gd name="T6" fmla="*/ 0 w 54"/>
                  <a:gd name="T7" fmla="*/ 1 h 22"/>
                  <a:gd name="T8" fmla="*/ 1 w 54"/>
                  <a:gd name="T9" fmla="*/ 1 h 22"/>
                  <a:gd name="T10" fmla="*/ 1 w 54"/>
                  <a:gd name="T11" fmla="*/ 1 h 22"/>
                  <a:gd name="T12" fmla="*/ 1 w 54"/>
                  <a:gd name="T13" fmla="*/ 1 h 22"/>
                  <a:gd name="T14" fmla="*/ 1 w 54"/>
                  <a:gd name="T15" fmla="*/ 1 h 22"/>
                  <a:gd name="T16" fmla="*/ 1 w 54"/>
                  <a:gd name="T17" fmla="*/ 1 h 22"/>
                  <a:gd name="T18" fmla="*/ 1 w 54"/>
                  <a:gd name="T19" fmla="*/ 1 h 22"/>
                  <a:gd name="T20" fmla="*/ 1 w 54"/>
                  <a:gd name="T21" fmla="*/ 1 h 22"/>
                  <a:gd name="T22" fmla="*/ 2 w 54"/>
                  <a:gd name="T23" fmla="*/ 0 h 22"/>
                  <a:gd name="T24" fmla="*/ 2 w 54"/>
                  <a:gd name="T25" fmla="*/ 0 h 22"/>
                  <a:gd name="T26" fmla="*/ 2 w 54"/>
                  <a:gd name="T27" fmla="*/ 0 h 22"/>
                  <a:gd name="T28" fmla="*/ 1 w 54"/>
                  <a:gd name="T29" fmla="*/ 0 h 22"/>
                  <a:gd name="T30" fmla="*/ 1 w 54"/>
                  <a:gd name="T31" fmla="*/ 0 h 22"/>
                  <a:gd name="T32" fmla="*/ 0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4"/>
                  <a:gd name="T55" fmla="*/ 0 h 22"/>
                  <a:gd name="T56" fmla="*/ 54 w 54"/>
                  <a:gd name="T57" fmla="*/ 22 h 2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5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0 w 6"/>
                  <a:gd name="T1" fmla="*/ 1 h 24"/>
                  <a:gd name="T2" fmla="*/ 0 w 6"/>
                  <a:gd name="T3" fmla="*/ 0 h 24"/>
                  <a:gd name="T4" fmla="*/ 0 w 6"/>
                  <a:gd name="T5" fmla="*/ 0 h 24"/>
                  <a:gd name="T6" fmla="*/ 0 w 6"/>
                  <a:gd name="T7" fmla="*/ 0 h 24"/>
                  <a:gd name="T8" fmla="*/ 0 w 6"/>
                  <a:gd name="T9" fmla="*/ 0 h 24"/>
                  <a:gd name="T10" fmla="*/ 0 w 6"/>
                  <a:gd name="T11" fmla="*/ 0 h 24"/>
                  <a:gd name="T12" fmla="*/ 0 w 6"/>
                  <a:gd name="T13" fmla="*/ 1 h 24"/>
                  <a:gd name="T14" fmla="*/ 0 w 6"/>
                  <a:gd name="T15" fmla="*/ 1 h 24"/>
                  <a:gd name="T16" fmla="*/ 0 w 6"/>
                  <a:gd name="T17" fmla="*/ 1 h 24"/>
                  <a:gd name="T18" fmla="*/ 0 w 6"/>
                  <a:gd name="T19" fmla="*/ 1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24"/>
                  <a:gd name="T32" fmla="*/ 6 w 6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6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0 h 12"/>
                  <a:gd name="T2" fmla="*/ 1 w 27"/>
                  <a:gd name="T3" fmla="*/ 0 h 12"/>
                  <a:gd name="T4" fmla="*/ 0 w 27"/>
                  <a:gd name="T5" fmla="*/ 0 h 12"/>
                  <a:gd name="T6" fmla="*/ 0 w 27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2"/>
                  <a:gd name="T14" fmla="*/ 27 w 27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7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0 w 743"/>
                  <a:gd name="T1" fmla="*/ 8 h 672"/>
                  <a:gd name="T2" fmla="*/ 2 w 743"/>
                  <a:gd name="T3" fmla="*/ 10 h 672"/>
                  <a:gd name="T4" fmla="*/ 4 w 743"/>
                  <a:gd name="T5" fmla="*/ 11 h 672"/>
                  <a:gd name="T6" fmla="*/ 6 w 743"/>
                  <a:gd name="T7" fmla="*/ 12 h 672"/>
                  <a:gd name="T8" fmla="*/ 7 w 743"/>
                  <a:gd name="T9" fmla="*/ 13 h 672"/>
                  <a:gd name="T10" fmla="*/ 11 w 743"/>
                  <a:gd name="T11" fmla="*/ 14 h 672"/>
                  <a:gd name="T12" fmla="*/ 10 w 743"/>
                  <a:gd name="T13" fmla="*/ 16 h 672"/>
                  <a:gd name="T14" fmla="*/ 11 w 743"/>
                  <a:gd name="T15" fmla="*/ 19 h 672"/>
                  <a:gd name="T16" fmla="*/ 11 w 743"/>
                  <a:gd name="T17" fmla="*/ 20 h 672"/>
                  <a:gd name="T18" fmla="*/ 11 w 743"/>
                  <a:gd name="T19" fmla="*/ 21 h 672"/>
                  <a:gd name="T20" fmla="*/ 11 w 743"/>
                  <a:gd name="T21" fmla="*/ 23 h 672"/>
                  <a:gd name="T22" fmla="*/ 13 w 743"/>
                  <a:gd name="T23" fmla="*/ 24 h 672"/>
                  <a:gd name="T24" fmla="*/ 15 w 743"/>
                  <a:gd name="T25" fmla="*/ 25 h 672"/>
                  <a:gd name="T26" fmla="*/ 16 w 743"/>
                  <a:gd name="T27" fmla="*/ 24 h 672"/>
                  <a:gd name="T28" fmla="*/ 18 w 743"/>
                  <a:gd name="T29" fmla="*/ 23 h 672"/>
                  <a:gd name="T30" fmla="*/ 18 w 743"/>
                  <a:gd name="T31" fmla="*/ 22 h 672"/>
                  <a:gd name="T32" fmla="*/ 17 w 743"/>
                  <a:gd name="T33" fmla="*/ 17 h 672"/>
                  <a:gd name="T34" fmla="*/ 20 w 743"/>
                  <a:gd name="T35" fmla="*/ 19 h 672"/>
                  <a:gd name="T36" fmla="*/ 21 w 743"/>
                  <a:gd name="T37" fmla="*/ 18 h 672"/>
                  <a:gd name="T38" fmla="*/ 23 w 743"/>
                  <a:gd name="T39" fmla="*/ 16 h 672"/>
                  <a:gd name="T40" fmla="*/ 24 w 743"/>
                  <a:gd name="T41" fmla="*/ 16 h 672"/>
                  <a:gd name="T42" fmla="*/ 24 w 743"/>
                  <a:gd name="T43" fmla="*/ 16 h 672"/>
                  <a:gd name="T44" fmla="*/ 24 w 743"/>
                  <a:gd name="T45" fmla="*/ 12 h 672"/>
                  <a:gd name="T46" fmla="*/ 25 w 743"/>
                  <a:gd name="T47" fmla="*/ 11 h 672"/>
                  <a:gd name="T48" fmla="*/ 25 w 743"/>
                  <a:gd name="T49" fmla="*/ 9 h 672"/>
                  <a:gd name="T50" fmla="*/ 26 w 743"/>
                  <a:gd name="T51" fmla="*/ 9 h 672"/>
                  <a:gd name="T52" fmla="*/ 26 w 743"/>
                  <a:gd name="T53" fmla="*/ 8 h 672"/>
                  <a:gd name="T54" fmla="*/ 25 w 743"/>
                  <a:gd name="T55" fmla="*/ 7 h 672"/>
                  <a:gd name="T56" fmla="*/ 24 w 743"/>
                  <a:gd name="T57" fmla="*/ 6 h 672"/>
                  <a:gd name="T58" fmla="*/ 24 w 743"/>
                  <a:gd name="T59" fmla="*/ 5 h 672"/>
                  <a:gd name="T60" fmla="*/ 23 w 743"/>
                  <a:gd name="T61" fmla="*/ 6 h 672"/>
                  <a:gd name="T62" fmla="*/ 22 w 743"/>
                  <a:gd name="T63" fmla="*/ 5 h 672"/>
                  <a:gd name="T64" fmla="*/ 21 w 743"/>
                  <a:gd name="T65" fmla="*/ 4 h 672"/>
                  <a:gd name="T66" fmla="*/ 21 w 743"/>
                  <a:gd name="T67" fmla="*/ 4 h 672"/>
                  <a:gd name="T68" fmla="*/ 19 w 743"/>
                  <a:gd name="T69" fmla="*/ 3 h 672"/>
                  <a:gd name="T70" fmla="*/ 17 w 743"/>
                  <a:gd name="T71" fmla="*/ 3 h 672"/>
                  <a:gd name="T72" fmla="*/ 17 w 743"/>
                  <a:gd name="T73" fmla="*/ 4 h 672"/>
                  <a:gd name="T74" fmla="*/ 15 w 743"/>
                  <a:gd name="T75" fmla="*/ 4 h 672"/>
                  <a:gd name="T76" fmla="*/ 15 w 743"/>
                  <a:gd name="T77" fmla="*/ 4 h 672"/>
                  <a:gd name="T78" fmla="*/ 14 w 743"/>
                  <a:gd name="T79" fmla="*/ 4 h 672"/>
                  <a:gd name="T80" fmla="*/ 13 w 743"/>
                  <a:gd name="T81" fmla="*/ 3 h 672"/>
                  <a:gd name="T82" fmla="*/ 11 w 743"/>
                  <a:gd name="T83" fmla="*/ 3 h 672"/>
                  <a:gd name="T84" fmla="*/ 11 w 743"/>
                  <a:gd name="T85" fmla="*/ 3 h 672"/>
                  <a:gd name="T86" fmla="*/ 9 w 743"/>
                  <a:gd name="T87" fmla="*/ 3 h 672"/>
                  <a:gd name="T88" fmla="*/ 8 w 743"/>
                  <a:gd name="T89" fmla="*/ 2 h 672"/>
                  <a:gd name="T90" fmla="*/ 6 w 743"/>
                  <a:gd name="T91" fmla="*/ 1 h 672"/>
                  <a:gd name="T92" fmla="*/ 5 w 743"/>
                  <a:gd name="T93" fmla="*/ 0 h 672"/>
                  <a:gd name="T94" fmla="*/ 5 w 743"/>
                  <a:gd name="T95" fmla="*/ 2 h 672"/>
                  <a:gd name="T96" fmla="*/ 4 w 743"/>
                  <a:gd name="T97" fmla="*/ 3 h 672"/>
                  <a:gd name="T98" fmla="*/ 4 w 743"/>
                  <a:gd name="T99" fmla="*/ 5 h 672"/>
                  <a:gd name="T100" fmla="*/ 4 w 743"/>
                  <a:gd name="T101" fmla="*/ 7 h 672"/>
                  <a:gd name="T102" fmla="*/ 3 w 743"/>
                  <a:gd name="T103" fmla="*/ 7 h 672"/>
                  <a:gd name="T104" fmla="*/ 3 w 743"/>
                  <a:gd name="T105" fmla="*/ 7 h 672"/>
                  <a:gd name="T106" fmla="*/ 2 w 743"/>
                  <a:gd name="T107" fmla="*/ 6 h 672"/>
                  <a:gd name="T108" fmla="*/ 2 w 743"/>
                  <a:gd name="T109" fmla="*/ 4 h 672"/>
                  <a:gd name="T110" fmla="*/ 3 w 743"/>
                  <a:gd name="T111" fmla="*/ 2 h 672"/>
                  <a:gd name="T112" fmla="*/ 4 w 743"/>
                  <a:gd name="T113" fmla="*/ 1 h 672"/>
                  <a:gd name="T114" fmla="*/ 2 w 743"/>
                  <a:gd name="T115" fmla="*/ 1 h 672"/>
                  <a:gd name="T116" fmla="*/ 1 w 743"/>
                  <a:gd name="T117" fmla="*/ 3 h 672"/>
                  <a:gd name="T118" fmla="*/ 0 w 743"/>
                  <a:gd name="T119" fmla="*/ 4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3"/>
                  <a:gd name="T181" fmla="*/ 0 h 672"/>
                  <a:gd name="T182" fmla="*/ 743 w 743"/>
                  <a:gd name="T183" fmla="*/ 672 h 6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209" name="Freeform 16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8039433" y="5734276"/>
              <a:ext cx="30480" cy="10704"/>
            </a:xfrm>
            <a:custGeom>
              <a:avLst/>
              <a:gdLst>
                <a:gd name="T0" fmla="*/ 0 w 79"/>
                <a:gd name="T1" fmla="*/ 2147483647 h 23"/>
                <a:gd name="T2" fmla="*/ 1263517046 w 79"/>
                <a:gd name="T3" fmla="*/ 1310363234 h 23"/>
                <a:gd name="T4" fmla="*/ 2147483647 w 79"/>
                <a:gd name="T5" fmla="*/ 403289006 h 23"/>
                <a:gd name="T6" fmla="*/ 2147483647 w 79"/>
                <a:gd name="T7" fmla="*/ 100713932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100713932 h 23"/>
                <a:gd name="T14" fmla="*/ 2147483647 w 79"/>
                <a:gd name="T15" fmla="*/ 201644270 h 23"/>
                <a:gd name="T16" fmla="*/ 2147483647 w 79"/>
                <a:gd name="T17" fmla="*/ 403289006 h 23"/>
                <a:gd name="T18" fmla="*/ 2147483647 w 79"/>
                <a:gd name="T19" fmla="*/ 806361139 h 23"/>
                <a:gd name="T20" fmla="*/ 2147483647 w 79"/>
                <a:gd name="T21" fmla="*/ 1310363234 h 23"/>
                <a:gd name="T22" fmla="*/ 2147483647 w 79"/>
                <a:gd name="T23" fmla="*/ 1612722279 h 23"/>
                <a:gd name="T24" fmla="*/ 2147483647 w 79"/>
                <a:gd name="T25" fmla="*/ 1915080394 h 23"/>
                <a:gd name="T26" fmla="*/ 2147483647 w 79"/>
                <a:gd name="T27" fmla="*/ 2116724606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24965237 w 79"/>
                <a:gd name="T35" fmla="*/ 2147483647 h 23"/>
                <a:gd name="T36" fmla="*/ 1837815969 w 79"/>
                <a:gd name="T37" fmla="*/ 2116724606 h 23"/>
                <a:gd name="T38" fmla="*/ 1493206521 w 79"/>
                <a:gd name="T39" fmla="*/ 2016010238 h 23"/>
                <a:gd name="T40" fmla="*/ 1320976068 w 79"/>
                <a:gd name="T41" fmla="*/ 1915080394 h 23"/>
                <a:gd name="T42" fmla="*/ 1091286593 w 79"/>
                <a:gd name="T43" fmla="*/ 1814366026 h 23"/>
                <a:gd name="T44" fmla="*/ 804137518 w 79"/>
                <a:gd name="T45" fmla="*/ 1814366026 h 23"/>
                <a:gd name="T46" fmla="*/ 516839322 w 79"/>
                <a:gd name="T47" fmla="*/ 2016010238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0" name="Freeform 17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150683" y="5862724"/>
              <a:ext cx="1524" cy="4587"/>
            </a:xfrm>
            <a:custGeom>
              <a:avLst/>
              <a:gdLst>
                <a:gd name="T0" fmla="*/ 0 w 1524"/>
                <a:gd name="T1" fmla="*/ 0 h 6"/>
                <a:gd name="T2" fmla="*/ 0 w 1524"/>
                <a:gd name="T3" fmla="*/ 2147483647 h 6"/>
                <a:gd name="T4" fmla="*/ 0 w 1524"/>
                <a:gd name="T5" fmla="*/ 0 h 6"/>
                <a:gd name="T6" fmla="*/ 0 60000 65536"/>
                <a:gd name="T7" fmla="*/ 0 60000 65536"/>
                <a:gd name="T8" fmla="*/ 0 60000 65536"/>
                <a:gd name="T9" fmla="*/ 0 w 1524"/>
                <a:gd name="T10" fmla="*/ 0 h 6"/>
                <a:gd name="T11" fmla="*/ 1524 w 152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24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1" name="Line 171"/>
            <p:cNvSpPr>
              <a:spLocks noChangeShapeType="1"/>
            </p:cNvSpPr>
            <p:nvPr>
              <p:custDataLst>
                <p:tags r:id="rId97"/>
              </p:custDataLst>
            </p:nvPr>
          </p:nvSpPr>
          <p:spPr bwMode="auto">
            <a:xfrm flipV="1">
              <a:off x="8237551" y="5861195"/>
              <a:ext cx="1523" cy="1223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212" name="Freeform 17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8237551" y="5861195"/>
              <a:ext cx="3048" cy="15291"/>
            </a:xfrm>
            <a:custGeom>
              <a:avLst/>
              <a:gdLst>
                <a:gd name="T0" fmla="*/ 0 w 5"/>
                <a:gd name="T1" fmla="*/ 0 h 30"/>
                <a:gd name="T2" fmla="*/ 452994959 w 5"/>
                <a:gd name="T3" fmla="*/ 132494984 h 30"/>
                <a:gd name="T4" fmla="*/ 905990527 w 5"/>
                <a:gd name="T5" fmla="*/ 529719989 h 30"/>
                <a:gd name="T6" fmla="*/ 1132673858 w 5"/>
                <a:gd name="T7" fmla="*/ 1059440488 h 30"/>
                <a:gd name="T8" fmla="*/ 1132673858 w 5"/>
                <a:gd name="T9" fmla="*/ 1721395610 h 30"/>
                <a:gd name="T10" fmla="*/ 1132673858 w 5"/>
                <a:gd name="T11" fmla="*/ 2147483647 h 30"/>
                <a:gd name="T12" fmla="*/ 905990527 w 5"/>
                <a:gd name="T13" fmla="*/ 2147483647 h 30"/>
                <a:gd name="T14" fmla="*/ 452994959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3" name="Freeform 17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524059" y="5350459"/>
              <a:ext cx="21336" cy="27525"/>
            </a:xfrm>
            <a:custGeom>
              <a:avLst/>
              <a:gdLst>
                <a:gd name="T0" fmla="*/ 0 w 53"/>
                <a:gd name="T1" fmla="*/ 1503981097 h 55"/>
                <a:gd name="T2" fmla="*/ 65309905 w 53"/>
                <a:gd name="T3" fmla="*/ 2130867802 h 55"/>
                <a:gd name="T4" fmla="*/ 326225434 w 53"/>
                <a:gd name="T5" fmla="*/ 2147483647 h 55"/>
                <a:gd name="T6" fmla="*/ 587141391 w 53"/>
                <a:gd name="T7" fmla="*/ 2147483647 h 55"/>
                <a:gd name="T8" fmla="*/ 978514973 w 53"/>
                <a:gd name="T9" fmla="*/ 2147483647 h 55"/>
                <a:gd name="T10" fmla="*/ 169627511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1826733850 w 53"/>
                <a:gd name="T19" fmla="*/ 2147483647 h 55"/>
                <a:gd name="T20" fmla="*/ 1500507712 w 53"/>
                <a:gd name="T21" fmla="*/ 2147483647 h 55"/>
                <a:gd name="T22" fmla="*/ 1239592661 w 53"/>
                <a:gd name="T23" fmla="*/ 2005391371 h 55"/>
                <a:gd name="T24" fmla="*/ 1043824853 w 53"/>
                <a:gd name="T25" fmla="*/ 1002820799 h 55"/>
                <a:gd name="T26" fmla="*/ 913366925 w 53"/>
                <a:gd name="T27" fmla="*/ 0 h 55"/>
                <a:gd name="T28" fmla="*/ 456683463 w 53"/>
                <a:gd name="T29" fmla="*/ 752115662 h 55"/>
                <a:gd name="T30" fmla="*/ 0 w 53"/>
                <a:gd name="T31" fmla="*/ 150398109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4" name="Freeform 17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530154" y="5280119"/>
              <a:ext cx="25907" cy="38229"/>
            </a:xfrm>
            <a:custGeom>
              <a:avLst/>
              <a:gdLst>
                <a:gd name="T0" fmla="*/ 0 w 65"/>
                <a:gd name="T1" fmla="*/ 2147483647 h 75"/>
                <a:gd name="T2" fmla="*/ 569821607 w 65"/>
                <a:gd name="T3" fmla="*/ 2147483647 h 75"/>
                <a:gd name="T4" fmla="*/ 1266251859 w 65"/>
                <a:gd name="T5" fmla="*/ 2147483647 h 75"/>
                <a:gd name="T6" fmla="*/ 1646238816 w 65"/>
                <a:gd name="T7" fmla="*/ 2147483647 h 75"/>
                <a:gd name="T8" fmla="*/ 2026067542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1721530176 h 75"/>
                <a:gd name="T32" fmla="*/ 2147483647 w 65"/>
                <a:gd name="T33" fmla="*/ 1324273939 h 75"/>
                <a:gd name="T34" fmla="*/ 2147483647 w 65"/>
                <a:gd name="T35" fmla="*/ 662266948 h 75"/>
                <a:gd name="T36" fmla="*/ 2147483647 w 65"/>
                <a:gd name="T37" fmla="*/ 0 h 75"/>
                <a:gd name="T38" fmla="*/ 2147483647 w 65"/>
                <a:gd name="T39" fmla="*/ 0 h 75"/>
                <a:gd name="T40" fmla="*/ 1646238816 w 65"/>
                <a:gd name="T41" fmla="*/ 0 h 75"/>
                <a:gd name="T42" fmla="*/ 1582855179 w 65"/>
                <a:gd name="T43" fmla="*/ 264751073 h 75"/>
                <a:gd name="T44" fmla="*/ 1519629374 w 65"/>
                <a:gd name="T45" fmla="*/ 927017957 h 75"/>
                <a:gd name="T46" fmla="*/ 1456245736 w 65"/>
                <a:gd name="T47" fmla="*/ 1191769221 h 75"/>
                <a:gd name="T48" fmla="*/ 1456245736 w 65"/>
                <a:gd name="T49" fmla="*/ 1456779677 h 75"/>
                <a:gd name="T50" fmla="*/ 1519629374 w 65"/>
                <a:gd name="T51" fmla="*/ 1589284395 h 75"/>
                <a:gd name="T52" fmla="*/ 1646238816 w 65"/>
                <a:gd name="T53" fmla="*/ 1721530176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5" name="Freeform 17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507294" y="5257182"/>
              <a:ext cx="16764" cy="29053"/>
            </a:xfrm>
            <a:custGeom>
              <a:avLst/>
              <a:gdLst>
                <a:gd name="T0" fmla="*/ 0 w 40"/>
                <a:gd name="T1" fmla="*/ 2147483647 h 62"/>
                <a:gd name="T2" fmla="*/ 220785672 w 40"/>
                <a:gd name="T3" fmla="*/ 2147483647 h 62"/>
                <a:gd name="T4" fmla="*/ 515341718 w 40"/>
                <a:gd name="T5" fmla="*/ 2147483647 h 62"/>
                <a:gd name="T6" fmla="*/ 883317874 w 40"/>
                <a:gd name="T7" fmla="*/ 2147483647 h 62"/>
                <a:gd name="T8" fmla="*/ 1251469423 w 40"/>
                <a:gd name="T9" fmla="*/ 2147483647 h 62"/>
                <a:gd name="T10" fmla="*/ 1693039720 w 40"/>
                <a:gd name="T11" fmla="*/ 1749197758 h 62"/>
                <a:gd name="T12" fmla="*/ 2134786458 w 40"/>
                <a:gd name="T13" fmla="*/ 925981440 h 62"/>
                <a:gd name="T14" fmla="*/ 2147483647 w 40"/>
                <a:gd name="T15" fmla="*/ 308733620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6" name="Freeform 17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429572" y="5139437"/>
              <a:ext cx="65531" cy="133036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1680116517 w 159"/>
                <a:gd name="T57" fmla="*/ 2147483647 h 259"/>
                <a:gd name="T58" fmla="*/ 1260214637 w 159"/>
                <a:gd name="T59" fmla="*/ 2147483647 h 259"/>
                <a:gd name="T60" fmla="*/ 910126738 w 159"/>
                <a:gd name="T61" fmla="*/ 2147483647 h 259"/>
                <a:gd name="T62" fmla="*/ 630022829 w 159"/>
                <a:gd name="T63" fmla="*/ 2147483647 h 259"/>
                <a:gd name="T64" fmla="*/ 490055261 w 159"/>
                <a:gd name="T65" fmla="*/ 2147483647 h 259"/>
                <a:gd name="T66" fmla="*/ 350088002 w 159"/>
                <a:gd name="T67" fmla="*/ 2147483647 h 259"/>
                <a:gd name="T68" fmla="*/ 13996720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7" name="Line 177"/>
            <p:cNvSpPr>
              <a:spLocks noChangeShapeType="1"/>
            </p:cNvSpPr>
            <p:nvPr>
              <p:custDataLst>
                <p:tags r:id="rId103"/>
              </p:custDataLst>
            </p:nvPr>
          </p:nvSpPr>
          <p:spPr bwMode="auto">
            <a:xfrm flipH="1" flipV="1">
              <a:off x="8423476" y="5107325"/>
              <a:ext cx="6096" cy="32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218" name="Freeform 17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423476" y="5092034"/>
              <a:ext cx="6096" cy="15291"/>
            </a:xfrm>
            <a:custGeom>
              <a:avLst/>
              <a:gdLst>
                <a:gd name="T0" fmla="*/ 0 w 13"/>
                <a:gd name="T1" fmla="*/ 2147483647 h 25"/>
                <a:gd name="T2" fmla="*/ 103127907 w 13"/>
                <a:gd name="T3" fmla="*/ 2147483647 h 25"/>
                <a:gd name="T4" fmla="*/ 412511627 w 13"/>
                <a:gd name="T5" fmla="*/ 2147483647 h 25"/>
                <a:gd name="T6" fmla="*/ 824802860 w 13"/>
                <a:gd name="T7" fmla="*/ 1372959510 h 25"/>
                <a:gd name="T8" fmla="*/ 1340442013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19" name="Line 179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V="1">
              <a:off x="8429572" y="5079801"/>
              <a:ext cx="0" cy="1223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220" name="Freeform 180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8385376" y="5015576"/>
              <a:ext cx="44196" cy="64224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1726509584 w 100"/>
                <a:gd name="T15" fmla="*/ 2147483647 h 123"/>
                <a:gd name="T16" fmla="*/ 1122163057 w 100"/>
                <a:gd name="T17" fmla="*/ 2147483647 h 123"/>
                <a:gd name="T18" fmla="*/ 690682281 w 100"/>
                <a:gd name="T19" fmla="*/ 2147483647 h 123"/>
                <a:gd name="T20" fmla="*/ 345340920 w 100"/>
                <a:gd name="T21" fmla="*/ 2147483647 h 123"/>
                <a:gd name="T22" fmla="*/ 86335119 w 100"/>
                <a:gd name="T23" fmla="*/ 2147483647 h 123"/>
                <a:gd name="T24" fmla="*/ 0 w 100"/>
                <a:gd name="T25" fmla="*/ 2147483647 h 123"/>
                <a:gd name="T26" fmla="*/ 172670681 w 100"/>
                <a:gd name="T27" fmla="*/ 2147483647 h 123"/>
                <a:gd name="T28" fmla="*/ 604346748 w 100"/>
                <a:gd name="T29" fmla="*/ 2147483647 h 123"/>
                <a:gd name="T30" fmla="*/ 949688220 w 100"/>
                <a:gd name="T31" fmla="*/ 2147483647 h 123"/>
                <a:gd name="T32" fmla="*/ 112216305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1" name="Freeform 1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8399092" y="4960527"/>
              <a:ext cx="1523" cy="48933"/>
            </a:xfrm>
            <a:custGeom>
              <a:avLst/>
              <a:gdLst>
                <a:gd name="T0" fmla="*/ 141305752 w 5"/>
                <a:gd name="T1" fmla="*/ 0 h 99"/>
                <a:gd name="T2" fmla="*/ 113007509 w 5"/>
                <a:gd name="T3" fmla="*/ 2147483647 h 99"/>
                <a:gd name="T4" fmla="*/ 28298253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56503602 w 5"/>
                <a:gd name="T11" fmla="*/ 2147483647 h 99"/>
                <a:gd name="T12" fmla="*/ 141305752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2" name="Freeform 1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405188" y="4954410"/>
              <a:ext cx="7619" cy="35170"/>
            </a:xfrm>
            <a:custGeom>
              <a:avLst/>
              <a:gdLst>
                <a:gd name="T0" fmla="*/ 2147483647 w 14"/>
                <a:gd name="T1" fmla="*/ 0 h 68"/>
                <a:gd name="T2" fmla="*/ 1289520297 w 14"/>
                <a:gd name="T3" fmla="*/ 2147483647 h 68"/>
                <a:gd name="T4" fmla="*/ 644760692 w 14"/>
                <a:gd name="T5" fmla="*/ 2147483647 h 68"/>
                <a:gd name="T6" fmla="*/ 322232048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3" name="Freeform 1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420428" y="4936061"/>
              <a:ext cx="1523" cy="21408"/>
            </a:xfrm>
            <a:custGeom>
              <a:avLst/>
              <a:gdLst>
                <a:gd name="T0" fmla="*/ 0 w 1523"/>
                <a:gd name="T1" fmla="*/ 0 h 43"/>
                <a:gd name="T2" fmla="*/ 0 w 1523"/>
                <a:gd name="T3" fmla="*/ 1604182022 h 43"/>
                <a:gd name="T4" fmla="*/ 0 w 1523"/>
                <a:gd name="T5" fmla="*/ 2147483647 h 43"/>
                <a:gd name="T6" fmla="*/ 0 w 1523"/>
                <a:gd name="T7" fmla="*/ 2147483647 h 43"/>
                <a:gd name="T8" fmla="*/ 0 w 1523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23"/>
                <a:gd name="T16" fmla="*/ 0 h 43"/>
                <a:gd name="T17" fmla="*/ 1523 w 1523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23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4" name="Line 184"/>
            <p:cNvSpPr>
              <a:spLocks noChangeShapeType="1"/>
            </p:cNvSpPr>
            <p:nvPr>
              <p:custDataLst>
                <p:tags r:id="rId110"/>
              </p:custDataLst>
            </p:nvPr>
          </p:nvSpPr>
          <p:spPr bwMode="auto">
            <a:xfrm flipV="1">
              <a:off x="8420428" y="4954410"/>
              <a:ext cx="1523" cy="305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225" name="Freeform 1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8405188" y="4939119"/>
              <a:ext cx="1523" cy="15291"/>
            </a:xfrm>
            <a:custGeom>
              <a:avLst/>
              <a:gdLst>
                <a:gd name="T0" fmla="*/ 0 w 1523"/>
                <a:gd name="T1" fmla="*/ 2147483647 h 31"/>
                <a:gd name="T2" fmla="*/ 0 w 1523"/>
                <a:gd name="T3" fmla="*/ 2147483647 h 31"/>
                <a:gd name="T4" fmla="*/ 0 w 1523"/>
                <a:gd name="T5" fmla="*/ 1800202575 h 31"/>
                <a:gd name="T6" fmla="*/ 0 w 1523"/>
                <a:gd name="T7" fmla="*/ 960075534 h 31"/>
                <a:gd name="T8" fmla="*/ 0 w 1523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23"/>
                <a:gd name="T16" fmla="*/ 0 h 31"/>
                <a:gd name="T17" fmla="*/ 1523 w 1523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23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6" name="Freeform 1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8136968" y="5891778"/>
              <a:ext cx="92962" cy="84104"/>
            </a:xfrm>
            <a:custGeom>
              <a:avLst/>
              <a:gdLst>
                <a:gd name="T0" fmla="*/ 1340032819 w 225"/>
                <a:gd name="T1" fmla="*/ 2147483647 h 167"/>
                <a:gd name="T2" fmla="*/ 493678699 w 225"/>
                <a:gd name="T3" fmla="*/ 2147483647 h 167"/>
                <a:gd name="T4" fmla="*/ 0 w 225"/>
                <a:gd name="T5" fmla="*/ 2147483647 h 167"/>
                <a:gd name="T6" fmla="*/ 70501148 w 225"/>
                <a:gd name="T7" fmla="*/ 2147483647 h 167"/>
                <a:gd name="T8" fmla="*/ 775853411 w 225"/>
                <a:gd name="T9" fmla="*/ 2147483647 h 167"/>
                <a:gd name="T10" fmla="*/ 169270906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1149703778 h 167"/>
                <a:gd name="T16" fmla="*/ 2147483647 w 225"/>
                <a:gd name="T17" fmla="*/ 127829503 h 167"/>
                <a:gd name="T18" fmla="*/ 2147483647 w 225"/>
                <a:gd name="T19" fmla="*/ 127829503 h 167"/>
                <a:gd name="T20" fmla="*/ 2147483647 w 225"/>
                <a:gd name="T21" fmla="*/ 383234719 h 167"/>
                <a:gd name="T22" fmla="*/ 2147483647 w 225"/>
                <a:gd name="T23" fmla="*/ 1021874558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894045086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1833711724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7" name="Freeform 1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269554" y="5139437"/>
              <a:ext cx="3048" cy="16821"/>
            </a:xfrm>
            <a:custGeom>
              <a:avLst/>
              <a:gdLst>
                <a:gd name="T0" fmla="*/ 0 w 7"/>
                <a:gd name="T1" fmla="*/ 2147483647 h 31"/>
                <a:gd name="T2" fmla="*/ 412754931 w 7"/>
                <a:gd name="T3" fmla="*/ 2147483647 h 31"/>
                <a:gd name="T4" fmla="*/ 495419826 w 7"/>
                <a:gd name="T5" fmla="*/ 2076899754 h 31"/>
                <a:gd name="T6" fmla="*/ 577894764 w 7"/>
                <a:gd name="T7" fmla="*/ 958660297 h 31"/>
                <a:gd name="T8" fmla="*/ 577894764 w 7"/>
                <a:gd name="T9" fmla="*/ 0 h 31"/>
                <a:gd name="T10" fmla="*/ 495419826 w 7"/>
                <a:gd name="T11" fmla="*/ 958660297 h 31"/>
                <a:gd name="T12" fmla="*/ 330279993 w 7"/>
                <a:gd name="T13" fmla="*/ 2076899754 h 31"/>
                <a:gd name="T14" fmla="*/ 82474966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8" name="Freeform 1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205546" y="5064509"/>
              <a:ext cx="15240" cy="15291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40140718 h 31"/>
                <a:gd name="T8" fmla="*/ 1575896090 w 33"/>
                <a:gd name="T9" fmla="*/ 599986384 h 31"/>
                <a:gd name="T10" fmla="*/ 1083442041 w 33"/>
                <a:gd name="T11" fmla="*/ 960075534 h 31"/>
                <a:gd name="T12" fmla="*/ 590987761 w 33"/>
                <a:gd name="T13" fmla="*/ 1440113424 h 31"/>
                <a:gd name="T14" fmla="*/ 295387201 w 33"/>
                <a:gd name="T15" fmla="*/ 1920151068 h 31"/>
                <a:gd name="T16" fmla="*/ 98533511 w 33"/>
                <a:gd name="T17" fmla="*/ 2147483647 h 31"/>
                <a:gd name="T18" fmla="*/ 0 w 33"/>
                <a:gd name="T19" fmla="*/ 2147483647 h 31"/>
                <a:gd name="T20" fmla="*/ 98533511 w 33"/>
                <a:gd name="T21" fmla="*/ 2147483647 h 31"/>
                <a:gd name="T22" fmla="*/ 295387201 w 33"/>
                <a:gd name="T23" fmla="*/ 2147483647 h 31"/>
                <a:gd name="T24" fmla="*/ 590987761 w 33"/>
                <a:gd name="T25" fmla="*/ 2147483647 h 31"/>
                <a:gd name="T26" fmla="*/ 1083442041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29" name="Freeform 1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220786" y="4980406"/>
              <a:ext cx="3048" cy="9175"/>
            </a:xfrm>
            <a:custGeom>
              <a:avLst/>
              <a:gdLst>
                <a:gd name="T0" fmla="*/ 0 w 13"/>
                <a:gd name="T1" fmla="*/ 2139492280 h 19"/>
                <a:gd name="T2" fmla="*/ 25781859 w 13"/>
                <a:gd name="T3" fmla="*/ 2026863889 h 19"/>
                <a:gd name="T4" fmla="*/ 64427462 w 13"/>
                <a:gd name="T5" fmla="*/ 1914234048 h 19"/>
                <a:gd name="T6" fmla="*/ 90209314 w 13"/>
                <a:gd name="T7" fmla="*/ 1688975334 h 19"/>
                <a:gd name="T8" fmla="*/ 103127907 w 13"/>
                <a:gd name="T9" fmla="*/ 1351320017 h 19"/>
                <a:gd name="T10" fmla="*/ 154691875 w 13"/>
                <a:gd name="T11" fmla="*/ 675543631 h 19"/>
                <a:gd name="T12" fmla="*/ 167555369 w 13"/>
                <a:gd name="T13" fmla="*/ 0 h 19"/>
                <a:gd name="T14" fmla="*/ 0 w 13"/>
                <a:gd name="T15" fmla="*/ 213949228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0" name="Freeform 1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066865" y="4983464"/>
              <a:ext cx="35051" cy="21408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18739306 h 42"/>
                <a:gd name="T18" fmla="*/ 2147483647 w 87"/>
                <a:gd name="T19" fmla="*/ 1456747098 h 42"/>
                <a:gd name="T20" fmla="*/ 2147483647 w 87"/>
                <a:gd name="T21" fmla="*/ 794494682 h 42"/>
                <a:gd name="T22" fmla="*/ 2147483647 w 87"/>
                <a:gd name="T23" fmla="*/ 264745058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092581837 w 87"/>
                <a:gd name="T33" fmla="*/ 264745058 h 42"/>
                <a:gd name="T34" fmla="*/ 1634850183 w 87"/>
                <a:gd name="T35" fmla="*/ 529749560 h 42"/>
                <a:gd name="T36" fmla="*/ 1242531327 w 87"/>
                <a:gd name="T37" fmla="*/ 794494682 h 42"/>
                <a:gd name="T38" fmla="*/ 523145862 w 87"/>
                <a:gd name="T39" fmla="*/ 1589249317 h 42"/>
                <a:gd name="T40" fmla="*/ 0 w 87"/>
                <a:gd name="T41" fmla="*/ 2147483647 h 42"/>
                <a:gd name="T42" fmla="*/ 719386270 w 87"/>
                <a:gd name="T43" fmla="*/ 2147483647 h 42"/>
                <a:gd name="T44" fmla="*/ 1765677793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1" name="Freeform 1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301558" y="5429975"/>
              <a:ext cx="1523" cy="13763"/>
            </a:xfrm>
            <a:custGeom>
              <a:avLst/>
              <a:gdLst>
                <a:gd name="T0" fmla="*/ 0 w 7"/>
                <a:gd name="T1" fmla="*/ 0 h 31"/>
                <a:gd name="T2" fmla="*/ 72094694 w 7"/>
                <a:gd name="T3" fmla="*/ 0 h 31"/>
                <a:gd name="T4" fmla="*/ 72094694 w 7"/>
                <a:gd name="T5" fmla="*/ 157508483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2" name="Freeform 1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568523" y="4954410"/>
              <a:ext cx="978394" cy="874673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129016858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147683782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32"/>
                <a:gd name="T178" fmla="*/ 0 h 1731"/>
                <a:gd name="T179" fmla="*/ 2332 w 2332"/>
                <a:gd name="T180" fmla="*/ 1731 h 17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3" name="Freeform 1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275745" y="3669926"/>
              <a:ext cx="641595" cy="55966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1971545154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438160029 w 1535"/>
                <a:gd name="T71" fmla="*/ 2147483647 h 1109"/>
                <a:gd name="T72" fmla="*/ 2147483647 w 1535"/>
                <a:gd name="T73" fmla="*/ 642561916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4" name="Freeform 1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499500" y="5249536"/>
              <a:ext cx="202690" cy="255368"/>
            </a:xfrm>
            <a:custGeom>
              <a:avLst/>
              <a:gdLst>
                <a:gd name="T0" fmla="*/ 101561802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1551656553 h 505"/>
                <a:gd name="T78" fmla="*/ 2147483647 w 486"/>
                <a:gd name="T79" fmla="*/ 1034352664 h 505"/>
                <a:gd name="T80" fmla="*/ 2147483647 w 486"/>
                <a:gd name="T81" fmla="*/ 258524450 h 505"/>
                <a:gd name="T82" fmla="*/ 2147483647 w 486"/>
                <a:gd name="T83" fmla="*/ 129390162 h 505"/>
                <a:gd name="T84" fmla="*/ 2147483647 w 486"/>
                <a:gd name="T85" fmla="*/ 1422267434 h 505"/>
                <a:gd name="T86" fmla="*/ 2147483647 w 486"/>
                <a:gd name="T87" fmla="*/ 2147483647 h 505"/>
                <a:gd name="T88" fmla="*/ 1740936086 w 486"/>
                <a:gd name="T89" fmla="*/ 2147483647 h 505"/>
                <a:gd name="T90" fmla="*/ 1450809196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5" name="Freeform 1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662566" y="4483433"/>
              <a:ext cx="70103" cy="105511"/>
            </a:xfrm>
            <a:custGeom>
              <a:avLst/>
              <a:gdLst>
                <a:gd name="T0" fmla="*/ 52718302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1435829282 h 208"/>
                <a:gd name="T44" fmla="*/ 2147483647 w 166"/>
                <a:gd name="T45" fmla="*/ 1305370042 h 208"/>
                <a:gd name="T46" fmla="*/ 2147483647 w 166"/>
                <a:gd name="T47" fmla="*/ 1044193110 h 208"/>
                <a:gd name="T48" fmla="*/ 2147483647 w 166"/>
                <a:gd name="T49" fmla="*/ 652556683 h 208"/>
                <a:gd name="T50" fmla="*/ 2147483647 w 166"/>
                <a:gd name="T51" fmla="*/ 391636553 h 208"/>
                <a:gd name="T52" fmla="*/ 2147483647 w 166"/>
                <a:gd name="T53" fmla="*/ 130459780 h 208"/>
                <a:gd name="T54" fmla="*/ 2147483647 w 166"/>
                <a:gd name="T55" fmla="*/ 0 h 208"/>
                <a:gd name="T56" fmla="*/ 2147483647 w 166"/>
                <a:gd name="T57" fmla="*/ 130459780 h 208"/>
                <a:gd name="T58" fmla="*/ 2033470216 w 166"/>
                <a:gd name="T59" fmla="*/ 652556683 h 208"/>
                <a:gd name="T60" fmla="*/ 1506287826 w 166"/>
                <a:gd name="T61" fmla="*/ 1435829282 h 208"/>
                <a:gd name="T62" fmla="*/ 828404946 w 166"/>
                <a:gd name="T63" fmla="*/ 2147483647 h 208"/>
                <a:gd name="T64" fmla="*/ 527183023 w 166"/>
                <a:gd name="T65" fmla="*/ 2147483647 h 208"/>
                <a:gd name="T66" fmla="*/ 301222028 w 166"/>
                <a:gd name="T67" fmla="*/ 2147483647 h 208"/>
                <a:gd name="T68" fmla="*/ 150700332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150700332 w 166"/>
                <a:gd name="T75" fmla="*/ 2147483647 h 208"/>
                <a:gd name="T76" fmla="*/ 225960995 w 166"/>
                <a:gd name="T77" fmla="*/ 2147483647 h 208"/>
                <a:gd name="T78" fmla="*/ 376661275 w 166"/>
                <a:gd name="T79" fmla="*/ 2147483647 h 208"/>
                <a:gd name="T80" fmla="*/ 753143913 w 166"/>
                <a:gd name="T81" fmla="*/ 2147483647 h 208"/>
                <a:gd name="T82" fmla="*/ 1280327359 w 166"/>
                <a:gd name="T83" fmla="*/ 2147483647 h 208"/>
                <a:gd name="T84" fmla="*/ 1656988106 w 166"/>
                <a:gd name="T85" fmla="*/ 2147483647 h 208"/>
                <a:gd name="T86" fmla="*/ 2108909463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08909463 w 166"/>
                <a:gd name="T101" fmla="*/ 2147483647 h 208"/>
                <a:gd name="T102" fmla="*/ 1882949840 w 166"/>
                <a:gd name="T103" fmla="*/ 2147483647 h 208"/>
                <a:gd name="T104" fmla="*/ 1581548859 w 166"/>
                <a:gd name="T105" fmla="*/ 2147483647 h 208"/>
                <a:gd name="T106" fmla="*/ 1280327359 w 166"/>
                <a:gd name="T107" fmla="*/ 2147483647 h 208"/>
                <a:gd name="T108" fmla="*/ 828404946 w 166"/>
                <a:gd name="T109" fmla="*/ 2147483647 h 208"/>
                <a:gd name="T110" fmla="*/ 52718302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6" name="Freeform 1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196228" y="4058330"/>
              <a:ext cx="67055" cy="56578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1845625222 w 164"/>
                <a:gd name="T23" fmla="*/ 2147483647 h 104"/>
                <a:gd name="T24" fmla="*/ 1298792309 w 164"/>
                <a:gd name="T25" fmla="*/ 2147483647 h 104"/>
                <a:gd name="T26" fmla="*/ 751958783 w 164"/>
                <a:gd name="T27" fmla="*/ 2147483647 h 104"/>
                <a:gd name="T28" fmla="*/ 410083388 w 164"/>
                <a:gd name="T29" fmla="*/ 2147483647 h 104"/>
                <a:gd name="T30" fmla="*/ 205125308 w 164"/>
                <a:gd name="T31" fmla="*/ 2147483647 h 104"/>
                <a:gd name="T32" fmla="*/ 68375248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68375248 w 164"/>
                <a:gd name="T41" fmla="*/ 2147483647 h 104"/>
                <a:gd name="T42" fmla="*/ 205125308 w 164"/>
                <a:gd name="T43" fmla="*/ 2147483647 h 104"/>
                <a:gd name="T44" fmla="*/ 410083388 w 164"/>
                <a:gd name="T45" fmla="*/ 2147483647 h 104"/>
                <a:gd name="T46" fmla="*/ 820166777 w 164"/>
                <a:gd name="T47" fmla="*/ 2147483647 h 104"/>
                <a:gd name="T48" fmla="*/ 1367000303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093007292 h 104"/>
                <a:gd name="T76" fmla="*/ 2147483647 w 164"/>
                <a:gd name="T77" fmla="*/ 1610005400 h 104"/>
                <a:gd name="T78" fmla="*/ 2147483647 w 164"/>
                <a:gd name="T79" fmla="*/ 966003512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966003512 h 104"/>
                <a:gd name="T86" fmla="*/ 2147483647 w 164"/>
                <a:gd name="T87" fmla="*/ 2093007292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7" name="Freeform 1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548267" y="6326056"/>
              <a:ext cx="22860" cy="55049"/>
            </a:xfrm>
            <a:custGeom>
              <a:avLst/>
              <a:gdLst>
                <a:gd name="T0" fmla="*/ 0 w 53"/>
                <a:gd name="T1" fmla="*/ 2147483647 h 19"/>
                <a:gd name="T2" fmla="*/ 561647394 w 53"/>
                <a:gd name="T3" fmla="*/ 2147483647 h 19"/>
                <a:gd name="T4" fmla="*/ 1123294788 w 53"/>
                <a:gd name="T5" fmla="*/ 2147483647 h 19"/>
                <a:gd name="T6" fmla="*/ 1765310371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1765310371 w 53"/>
                <a:gd name="T27" fmla="*/ 0 h 19"/>
                <a:gd name="T28" fmla="*/ 1123294788 w 53"/>
                <a:gd name="T29" fmla="*/ 2147483647 h 19"/>
                <a:gd name="T30" fmla="*/ 561647394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8" name="Freeform 1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514739" y="6306177"/>
              <a:ext cx="33528" cy="56578"/>
            </a:xfrm>
            <a:custGeom>
              <a:avLst/>
              <a:gdLst>
                <a:gd name="T0" fmla="*/ 0 w 80"/>
                <a:gd name="T1" fmla="*/ 0 h 18"/>
                <a:gd name="T2" fmla="*/ 73595215 w 80"/>
                <a:gd name="T3" fmla="*/ 2147483647 h 18"/>
                <a:gd name="T4" fmla="*/ 368151654 w 80"/>
                <a:gd name="T5" fmla="*/ 2147483647 h 18"/>
                <a:gd name="T6" fmla="*/ 588936907 w 80"/>
                <a:gd name="T7" fmla="*/ 2147483647 h 18"/>
                <a:gd name="T8" fmla="*/ 809722475 w 80"/>
                <a:gd name="T9" fmla="*/ 2147483647 h 18"/>
                <a:gd name="T10" fmla="*/ 1104279044 w 80"/>
                <a:gd name="T11" fmla="*/ 2147483647 h 18"/>
                <a:gd name="T12" fmla="*/ 1472254571 w 80"/>
                <a:gd name="T13" fmla="*/ 2147483647 h 18"/>
                <a:gd name="T14" fmla="*/ 1619444950 w 80"/>
                <a:gd name="T15" fmla="*/ 2147483647 h 18"/>
                <a:gd name="T16" fmla="*/ 1766635747 w 80"/>
                <a:gd name="T17" fmla="*/ 2147483647 h 18"/>
                <a:gd name="T18" fmla="*/ 1914001309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39" name="Freeform 1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514739" y="6286298"/>
              <a:ext cx="21336" cy="58108"/>
            </a:xfrm>
            <a:custGeom>
              <a:avLst/>
              <a:gdLst>
                <a:gd name="T0" fmla="*/ 1995803101 w 46"/>
                <a:gd name="T1" fmla="*/ 0 h 27"/>
                <a:gd name="T2" fmla="*/ 0 w 46"/>
                <a:gd name="T3" fmla="*/ 2147483647 h 27"/>
                <a:gd name="T4" fmla="*/ 897971877 w 46"/>
                <a:gd name="T5" fmla="*/ 2147483647 h 27"/>
                <a:gd name="T6" fmla="*/ 1596513445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1995803101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0" name="Freeform 2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485784" y="6280181"/>
              <a:ext cx="24384" cy="58108"/>
            </a:xfrm>
            <a:custGeom>
              <a:avLst/>
              <a:gdLst>
                <a:gd name="T0" fmla="*/ 2147483647 w 54"/>
                <a:gd name="T1" fmla="*/ 0 h 39"/>
                <a:gd name="T2" fmla="*/ 1841442584 w 54"/>
                <a:gd name="T3" fmla="*/ 2147483647 h 39"/>
                <a:gd name="T4" fmla="*/ 920823343 w 54"/>
                <a:gd name="T5" fmla="*/ 2147483647 h 39"/>
                <a:gd name="T6" fmla="*/ 552371725 w 54"/>
                <a:gd name="T7" fmla="*/ 2147483647 h 39"/>
                <a:gd name="T8" fmla="*/ 368247628 w 54"/>
                <a:gd name="T9" fmla="*/ 2147483647 h 39"/>
                <a:gd name="T10" fmla="*/ 184124040 w 54"/>
                <a:gd name="T11" fmla="*/ 2147483647 h 39"/>
                <a:gd name="T12" fmla="*/ 0 w 54"/>
                <a:gd name="T13" fmla="*/ 2147483647 h 39"/>
                <a:gd name="T14" fmla="*/ 184124040 w 54"/>
                <a:gd name="T15" fmla="*/ 2147483647 h 39"/>
                <a:gd name="T16" fmla="*/ 276287914 w 54"/>
                <a:gd name="T17" fmla="*/ 2147483647 h 39"/>
                <a:gd name="T18" fmla="*/ 460411446 w 54"/>
                <a:gd name="T19" fmla="*/ 2147483647 h 39"/>
                <a:gd name="T20" fmla="*/ 736495708 w 54"/>
                <a:gd name="T21" fmla="*/ 2147483647 h 39"/>
                <a:gd name="T22" fmla="*/ 1012783284 w 54"/>
                <a:gd name="T23" fmla="*/ 2147483647 h 39"/>
                <a:gd name="T24" fmla="*/ 1473194617 w 54"/>
                <a:gd name="T25" fmla="*/ 2147483647 h 39"/>
                <a:gd name="T26" fmla="*/ 1841442584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1" name="Freeform 2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461401" y="6271006"/>
              <a:ext cx="27432" cy="56579"/>
            </a:xfrm>
            <a:custGeom>
              <a:avLst/>
              <a:gdLst>
                <a:gd name="T0" fmla="*/ 0 w 60"/>
                <a:gd name="T1" fmla="*/ 2147483647 h 15"/>
                <a:gd name="T2" fmla="*/ 955693375 w 60"/>
                <a:gd name="T3" fmla="*/ 2147483647 h 15"/>
                <a:gd name="T4" fmla="*/ 1720332063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1529067978 w 60"/>
                <a:gd name="T33" fmla="*/ 2147483647 h 15"/>
                <a:gd name="T34" fmla="*/ 66890194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2" name="Freeform 2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438540" y="6258773"/>
              <a:ext cx="32004" cy="55049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1994516867 w 79"/>
                <a:gd name="T5" fmla="*/ 2147483647 h 32"/>
                <a:gd name="T6" fmla="*/ 1662179763 w 79"/>
                <a:gd name="T7" fmla="*/ 2147483647 h 32"/>
                <a:gd name="T8" fmla="*/ 1329677777 w 79"/>
                <a:gd name="T9" fmla="*/ 2147483647 h 32"/>
                <a:gd name="T10" fmla="*/ 997340267 w 79"/>
                <a:gd name="T11" fmla="*/ 2147483647 h 32"/>
                <a:gd name="T12" fmla="*/ 664839293 w 79"/>
                <a:gd name="T13" fmla="*/ 2147483647 h 32"/>
                <a:gd name="T14" fmla="*/ 332501682 w 79"/>
                <a:gd name="T15" fmla="*/ 2147483647 h 32"/>
                <a:gd name="T16" fmla="*/ 0 w 79"/>
                <a:gd name="T17" fmla="*/ 2147483647 h 32"/>
                <a:gd name="T18" fmla="*/ 332501682 w 79"/>
                <a:gd name="T19" fmla="*/ 2147483647 h 32"/>
                <a:gd name="T20" fmla="*/ 664839293 w 79"/>
                <a:gd name="T21" fmla="*/ 2147483647 h 32"/>
                <a:gd name="T22" fmla="*/ 797774135 w 79"/>
                <a:gd name="T23" fmla="*/ 2147483647 h 32"/>
                <a:gd name="T24" fmla="*/ 997340267 w 79"/>
                <a:gd name="T25" fmla="*/ 2147483647 h 32"/>
                <a:gd name="T26" fmla="*/ 1196742935 w 79"/>
                <a:gd name="T27" fmla="*/ 2147483647 h 32"/>
                <a:gd name="T28" fmla="*/ 1329677777 w 79"/>
                <a:gd name="T29" fmla="*/ 2147483647 h 32"/>
                <a:gd name="T30" fmla="*/ 1795115010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3" name="Freeform 2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432444" y="6240423"/>
              <a:ext cx="28956" cy="55049"/>
            </a:xfrm>
            <a:custGeom>
              <a:avLst/>
              <a:gdLst>
                <a:gd name="T0" fmla="*/ 2147483647 w 66"/>
                <a:gd name="T1" fmla="*/ 0 h 19"/>
                <a:gd name="T2" fmla="*/ 2111137989 w 66"/>
                <a:gd name="T3" fmla="*/ 2147483647 h 19"/>
                <a:gd name="T4" fmla="*/ 1604526240 w 66"/>
                <a:gd name="T5" fmla="*/ 2147483647 h 19"/>
                <a:gd name="T6" fmla="*/ 1097722769 w 66"/>
                <a:gd name="T7" fmla="*/ 2147483647 h 19"/>
                <a:gd name="T8" fmla="*/ 760109785 w 66"/>
                <a:gd name="T9" fmla="*/ 2147483647 h 19"/>
                <a:gd name="T10" fmla="*/ 422304748 w 66"/>
                <a:gd name="T11" fmla="*/ 2147483647 h 19"/>
                <a:gd name="T12" fmla="*/ 16880643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1604526240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4" name="Freeform 204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336434" y="5942240"/>
              <a:ext cx="24384" cy="58108"/>
            </a:xfrm>
            <a:custGeom>
              <a:avLst/>
              <a:gdLst>
                <a:gd name="T0" fmla="*/ 1265994372 w 53"/>
                <a:gd name="T1" fmla="*/ 0 h 80"/>
                <a:gd name="T2" fmla="*/ 779155300 w 53"/>
                <a:gd name="T3" fmla="*/ 1916185383 h 80"/>
                <a:gd name="T4" fmla="*/ 389471833 w 53"/>
                <a:gd name="T5" fmla="*/ 2147483647 h 80"/>
                <a:gd name="T6" fmla="*/ 194735686 w 53"/>
                <a:gd name="T7" fmla="*/ 2147483647 h 80"/>
                <a:gd name="T8" fmla="*/ 97368073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194735686 w 53"/>
                <a:gd name="T17" fmla="*/ 2147483647 h 80"/>
                <a:gd name="T18" fmla="*/ 584207576 w 53"/>
                <a:gd name="T19" fmla="*/ 2147483647 h 80"/>
                <a:gd name="T20" fmla="*/ 876523344 w 53"/>
                <a:gd name="T21" fmla="*/ 2147483647 h 80"/>
                <a:gd name="T22" fmla="*/ 1265994372 w 53"/>
                <a:gd name="T23" fmla="*/ 2147483647 h 80"/>
                <a:gd name="T24" fmla="*/ 1947781397 w 53"/>
                <a:gd name="T25" fmla="*/ 2147483647 h 80"/>
                <a:gd name="T26" fmla="*/ 2142518406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1532632054 h 80"/>
                <a:gd name="T74" fmla="*/ 1850202638 w 53"/>
                <a:gd name="T75" fmla="*/ 383026181 h 80"/>
                <a:gd name="T76" fmla="*/ 1265994372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5" name="Freeform 2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365389" y="6033989"/>
              <a:ext cx="16764" cy="51991"/>
            </a:xfrm>
            <a:custGeom>
              <a:avLst/>
              <a:gdLst>
                <a:gd name="T0" fmla="*/ 0 w 41"/>
                <a:gd name="T1" fmla="*/ 2147483647 h 43"/>
                <a:gd name="T2" fmla="*/ 1845680550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1845680550 w 41"/>
                <a:gd name="T11" fmla="*/ 2147483647 h 43"/>
                <a:gd name="T12" fmla="*/ 1367207955 w 41"/>
                <a:gd name="T13" fmla="*/ 2147483647 h 43"/>
                <a:gd name="T14" fmla="*/ 1025322249 w 41"/>
                <a:gd name="T15" fmla="*/ 2147483647 h 43"/>
                <a:gd name="T16" fmla="*/ 683603978 w 41"/>
                <a:gd name="T17" fmla="*/ 2147483647 h 43"/>
                <a:gd name="T18" fmla="*/ 410095637 w 41"/>
                <a:gd name="T19" fmla="*/ 2147483647 h 43"/>
                <a:gd name="T20" fmla="*/ 205131230 w 41"/>
                <a:gd name="T21" fmla="*/ 2147483647 h 43"/>
                <a:gd name="T22" fmla="*/ 68377085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6" name="Freeform 2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369962" y="6055397"/>
              <a:ext cx="7619" cy="56578"/>
            </a:xfrm>
            <a:custGeom>
              <a:avLst/>
              <a:gdLst>
                <a:gd name="T0" fmla="*/ 1105691334 w 20"/>
                <a:gd name="T1" fmla="*/ 0 h 24"/>
                <a:gd name="T2" fmla="*/ 0 w 20"/>
                <a:gd name="T3" fmla="*/ 0 h 24"/>
                <a:gd name="T4" fmla="*/ 55291848 w 20"/>
                <a:gd name="T5" fmla="*/ 2147483647 h 24"/>
                <a:gd name="T6" fmla="*/ 110583695 w 20"/>
                <a:gd name="T7" fmla="*/ 2147483647 h 24"/>
                <a:gd name="T8" fmla="*/ 221167390 w 20"/>
                <a:gd name="T9" fmla="*/ 2147483647 h 24"/>
                <a:gd name="T10" fmla="*/ 387042862 w 20"/>
                <a:gd name="T11" fmla="*/ 2147483647 h 24"/>
                <a:gd name="T12" fmla="*/ 552918429 w 20"/>
                <a:gd name="T13" fmla="*/ 2147483647 h 24"/>
                <a:gd name="T14" fmla="*/ 773940201 w 20"/>
                <a:gd name="T15" fmla="*/ 2147483647 h 24"/>
                <a:gd name="T16" fmla="*/ 939815863 w 20"/>
                <a:gd name="T17" fmla="*/ 2147483647 h 24"/>
                <a:gd name="T18" fmla="*/ 1105691334 w 20"/>
                <a:gd name="T19" fmla="*/ 2147483647 h 24"/>
                <a:gd name="T20" fmla="*/ 1105691334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7" name="Freeform 2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383677" y="6115033"/>
              <a:ext cx="16764" cy="58108"/>
            </a:xfrm>
            <a:custGeom>
              <a:avLst/>
              <a:gdLst>
                <a:gd name="T0" fmla="*/ 0 w 39"/>
                <a:gd name="T1" fmla="*/ 2147483647 h 43"/>
                <a:gd name="T2" fmla="*/ 158900360 w 39"/>
                <a:gd name="T3" fmla="*/ 2147483647 h 43"/>
                <a:gd name="T4" fmla="*/ 476515869 w 39"/>
                <a:gd name="T5" fmla="*/ 2147483647 h 43"/>
                <a:gd name="T6" fmla="*/ 953031738 w 39"/>
                <a:gd name="T7" fmla="*/ 2147483647 h 43"/>
                <a:gd name="T8" fmla="*/ 1270832349 w 39"/>
                <a:gd name="T9" fmla="*/ 2147483647 h 43"/>
                <a:gd name="T10" fmla="*/ 1826612463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1508997974 w 39"/>
                <a:gd name="T27" fmla="*/ 2147483647 h 43"/>
                <a:gd name="T28" fmla="*/ 476515869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8" name="Freeform 2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371485" y="6127266"/>
              <a:ext cx="25908" cy="56579"/>
            </a:xfrm>
            <a:custGeom>
              <a:avLst/>
              <a:gdLst>
                <a:gd name="T0" fmla="*/ 2147483647 w 55"/>
                <a:gd name="T1" fmla="*/ 2147483647 h 62"/>
                <a:gd name="T2" fmla="*/ 836090732 w 55"/>
                <a:gd name="T3" fmla="*/ 0 h 62"/>
                <a:gd name="T4" fmla="*/ 418045366 w 55"/>
                <a:gd name="T5" fmla="*/ 2147483647 h 62"/>
                <a:gd name="T6" fmla="*/ 104511459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09022448 w 55"/>
                <a:gd name="T13" fmla="*/ 2147483647 h 62"/>
                <a:gd name="T14" fmla="*/ 418045366 w 55"/>
                <a:gd name="T15" fmla="*/ 2147483647 h 62"/>
                <a:gd name="T16" fmla="*/ 836090732 w 55"/>
                <a:gd name="T17" fmla="*/ 2147483647 h 62"/>
                <a:gd name="T18" fmla="*/ 1149846182 w 55"/>
                <a:gd name="T19" fmla="*/ 2147483647 h 62"/>
                <a:gd name="T20" fmla="*/ 1672402860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49" name="Freeform 2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400441" y="6159379"/>
              <a:ext cx="10667" cy="56578"/>
            </a:xfrm>
            <a:custGeom>
              <a:avLst/>
              <a:gdLst>
                <a:gd name="T0" fmla="*/ 934150536 w 35"/>
                <a:gd name="T1" fmla="*/ 2147483647 h 43"/>
                <a:gd name="T2" fmla="*/ 198124886 w 35"/>
                <a:gd name="T3" fmla="*/ 0 h 43"/>
                <a:gd name="T4" fmla="*/ 113227451 w 35"/>
                <a:gd name="T5" fmla="*/ 2147483647 h 43"/>
                <a:gd name="T6" fmla="*/ 0 w 35"/>
                <a:gd name="T7" fmla="*/ 2147483647 h 43"/>
                <a:gd name="T8" fmla="*/ 56660355 w 35"/>
                <a:gd name="T9" fmla="*/ 2147483647 h 43"/>
                <a:gd name="T10" fmla="*/ 141557771 w 35"/>
                <a:gd name="T11" fmla="*/ 2147483647 h 43"/>
                <a:gd name="T12" fmla="*/ 169887825 w 35"/>
                <a:gd name="T13" fmla="*/ 2147483647 h 43"/>
                <a:gd name="T14" fmla="*/ 226455206 w 35"/>
                <a:gd name="T15" fmla="*/ 2147483647 h 43"/>
                <a:gd name="T16" fmla="*/ 311352603 w 35"/>
                <a:gd name="T17" fmla="*/ 2147483647 h 43"/>
                <a:gd name="T18" fmla="*/ 396343032 w 35"/>
                <a:gd name="T19" fmla="*/ 2147483647 h 43"/>
                <a:gd name="T20" fmla="*/ 509570444 w 35"/>
                <a:gd name="T21" fmla="*/ 2147483647 h 43"/>
                <a:gd name="T22" fmla="*/ 622797857 w 35"/>
                <a:gd name="T23" fmla="*/ 2147483647 h 43"/>
                <a:gd name="T24" fmla="*/ 736025422 w 35"/>
                <a:gd name="T25" fmla="*/ 2147483647 h 43"/>
                <a:gd name="T26" fmla="*/ 792685454 w 35"/>
                <a:gd name="T27" fmla="*/ 2147483647 h 43"/>
                <a:gd name="T28" fmla="*/ 877583155 w 35"/>
                <a:gd name="T29" fmla="*/ 2147483647 h 43"/>
                <a:gd name="T30" fmla="*/ 934150536 w 35"/>
                <a:gd name="T31" fmla="*/ 2147483647 h 43"/>
                <a:gd name="T32" fmla="*/ 990810568 w 35"/>
                <a:gd name="T33" fmla="*/ 2147483647 h 43"/>
                <a:gd name="T34" fmla="*/ 934150536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0" name="Freeform 2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397393" y="6191491"/>
              <a:ext cx="19811" cy="53521"/>
            </a:xfrm>
            <a:custGeom>
              <a:avLst/>
              <a:gdLst>
                <a:gd name="T0" fmla="*/ 2147483647 w 53"/>
                <a:gd name="T1" fmla="*/ 0 h 21"/>
                <a:gd name="T2" fmla="*/ 2141220857 w 53"/>
                <a:gd name="T3" fmla="*/ 2147483647 h 21"/>
                <a:gd name="T4" fmla="*/ 1671200905 w 53"/>
                <a:gd name="T5" fmla="*/ 2147483647 h 21"/>
                <a:gd name="T6" fmla="*/ 1305690677 w 53"/>
                <a:gd name="T7" fmla="*/ 2147483647 h 21"/>
                <a:gd name="T8" fmla="*/ 1096808039 w 53"/>
                <a:gd name="T9" fmla="*/ 2147483647 h 21"/>
                <a:gd name="T10" fmla="*/ 887785602 w 53"/>
                <a:gd name="T11" fmla="*/ 2147483647 h 21"/>
                <a:gd name="T12" fmla="*/ 678903524 w 53"/>
                <a:gd name="T13" fmla="*/ 2147483647 h 21"/>
                <a:gd name="T14" fmla="*/ 417765090 w 53"/>
                <a:gd name="T15" fmla="*/ 2147483647 h 21"/>
                <a:gd name="T16" fmla="*/ 0 w 53"/>
                <a:gd name="T17" fmla="*/ 2147483647 h 21"/>
                <a:gd name="T18" fmla="*/ 261138154 w 53"/>
                <a:gd name="T19" fmla="*/ 2147483647 h 21"/>
                <a:gd name="T20" fmla="*/ 574532104 w 53"/>
                <a:gd name="T21" fmla="*/ 2147483647 h 21"/>
                <a:gd name="T22" fmla="*/ 887785602 w 53"/>
                <a:gd name="T23" fmla="*/ 2147483647 h 21"/>
                <a:gd name="T24" fmla="*/ 1253435255 w 53"/>
                <a:gd name="T25" fmla="*/ 2147483647 h 21"/>
                <a:gd name="T26" fmla="*/ 1984594388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1" name="Freeform 2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420253" y="6205253"/>
              <a:ext cx="16764" cy="55049"/>
            </a:xfrm>
            <a:custGeom>
              <a:avLst/>
              <a:gdLst>
                <a:gd name="T0" fmla="*/ 1303627826 w 43"/>
                <a:gd name="T1" fmla="*/ 0 h 38"/>
                <a:gd name="T2" fmla="*/ 711014594 w 43"/>
                <a:gd name="T3" fmla="*/ 0 h 38"/>
                <a:gd name="T4" fmla="*/ 118553065 w 43"/>
                <a:gd name="T5" fmla="*/ 0 h 38"/>
                <a:gd name="T6" fmla="*/ 59276728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59276728 w 43"/>
                <a:gd name="T15" fmla="*/ 2147483647 h 38"/>
                <a:gd name="T16" fmla="*/ 118553065 w 43"/>
                <a:gd name="T17" fmla="*/ 2147483647 h 38"/>
                <a:gd name="T18" fmla="*/ 177829769 w 43"/>
                <a:gd name="T19" fmla="*/ 2147483647 h 38"/>
                <a:gd name="T20" fmla="*/ 296230788 w 43"/>
                <a:gd name="T21" fmla="*/ 2147483647 h 38"/>
                <a:gd name="T22" fmla="*/ 592613622 w 43"/>
                <a:gd name="T23" fmla="*/ 2147483647 h 38"/>
                <a:gd name="T24" fmla="*/ 888844508 w 43"/>
                <a:gd name="T25" fmla="*/ 2147483647 h 38"/>
                <a:gd name="T26" fmla="*/ 1244351903 w 43"/>
                <a:gd name="T27" fmla="*/ 2147483647 h 38"/>
                <a:gd name="T28" fmla="*/ 1599858517 w 43"/>
                <a:gd name="T29" fmla="*/ 2147483647 h 38"/>
                <a:gd name="T30" fmla="*/ 2073918928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33196411 w 43"/>
                <a:gd name="T37" fmla="*/ 2147483647 h 38"/>
                <a:gd name="T38" fmla="*/ 1955365521 w 43"/>
                <a:gd name="T39" fmla="*/ 2147483647 h 38"/>
                <a:gd name="T40" fmla="*/ 1777689017 w 43"/>
                <a:gd name="T41" fmla="*/ 2147483647 h 38"/>
                <a:gd name="T42" fmla="*/ 1599858517 w 43"/>
                <a:gd name="T43" fmla="*/ 2147483647 h 38"/>
                <a:gd name="T44" fmla="*/ 1422181233 w 43"/>
                <a:gd name="T45" fmla="*/ 2147483647 h 38"/>
                <a:gd name="T46" fmla="*/ 1362904529 w 43"/>
                <a:gd name="T47" fmla="*/ 2147483647 h 38"/>
                <a:gd name="T48" fmla="*/ 1303627826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2" name="Freeform 2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421777" y="6232778"/>
              <a:ext cx="6096" cy="55049"/>
            </a:xfrm>
            <a:custGeom>
              <a:avLst/>
              <a:gdLst>
                <a:gd name="T0" fmla="*/ 0 w 20"/>
                <a:gd name="T1" fmla="*/ 0 h 5"/>
                <a:gd name="T2" fmla="*/ 28335426 w 20"/>
                <a:gd name="T3" fmla="*/ 2147483647 h 5"/>
                <a:gd name="T4" fmla="*/ 56670852 w 20"/>
                <a:gd name="T5" fmla="*/ 2147483647 h 5"/>
                <a:gd name="T6" fmla="*/ 113248740 w 20"/>
                <a:gd name="T7" fmla="*/ 2147483647 h 5"/>
                <a:gd name="T8" fmla="*/ 198255027 w 20"/>
                <a:gd name="T9" fmla="*/ 2147483647 h 5"/>
                <a:gd name="T10" fmla="*/ 311503729 w 20"/>
                <a:gd name="T11" fmla="*/ 2147483647 h 5"/>
                <a:gd name="T12" fmla="*/ 396417395 w 20"/>
                <a:gd name="T13" fmla="*/ 2147483647 h 5"/>
                <a:gd name="T14" fmla="*/ 481423644 w 20"/>
                <a:gd name="T15" fmla="*/ 2147483647 h 5"/>
                <a:gd name="T16" fmla="*/ 566336929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3" name="Freeform 2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493404" y="6300061"/>
              <a:ext cx="33528" cy="55049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1937742142 w 73"/>
                <a:gd name="T7" fmla="*/ 2147483647 h 22"/>
                <a:gd name="T8" fmla="*/ 1453200741 w 73"/>
                <a:gd name="T9" fmla="*/ 2147483647 h 22"/>
                <a:gd name="T10" fmla="*/ 581364943 w 73"/>
                <a:gd name="T11" fmla="*/ 2147483647 h 22"/>
                <a:gd name="T12" fmla="*/ 0 w 73"/>
                <a:gd name="T13" fmla="*/ 2147483647 h 22"/>
                <a:gd name="T14" fmla="*/ 1937742142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4" name="Freeform 2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529979" y="6243482"/>
              <a:ext cx="118870" cy="96337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19662692 w 281"/>
                <a:gd name="T21" fmla="*/ 2147483647 h 193"/>
                <a:gd name="T22" fmla="*/ 1362525843 w 281"/>
                <a:gd name="T23" fmla="*/ 2147483647 h 193"/>
                <a:gd name="T24" fmla="*/ 454175211 w 281"/>
                <a:gd name="T25" fmla="*/ 2147483647 h 193"/>
                <a:gd name="T26" fmla="*/ 0 w 281"/>
                <a:gd name="T27" fmla="*/ 2147483647 h 193"/>
                <a:gd name="T28" fmla="*/ 75696071 w 281"/>
                <a:gd name="T29" fmla="*/ 2147483647 h 193"/>
                <a:gd name="T30" fmla="*/ 681262922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5" name="Freeform 2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100217" y="4091971"/>
              <a:ext cx="50292" cy="56578"/>
            </a:xfrm>
            <a:custGeom>
              <a:avLst/>
              <a:gdLst>
                <a:gd name="T0" fmla="*/ 0 w 120"/>
                <a:gd name="T1" fmla="*/ 2147483647 h 56"/>
                <a:gd name="T2" fmla="*/ 294380899 w 120"/>
                <a:gd name="T3" fmla="*/ 2147483647 h 56"/>
                <a:gd name="T4" fmla="*/ 736127379 w 120"/>
                <a:gd name="T5" fmla="*/ 2147483647 h 56"/>
                <a:gd name="T6" fmla="*/ 1104279184 w 120"/>
                <a:gd name="T7" fmla="*/ 2147483647 h 56"/>
                <a:gd name="T8" fmla="*/ 1545849538 w 120"/>
                <a:gd name="T9" fmla="*/ 2147483647 h 56"/>
                <a:gd name="T10" fmla="*/ 1987597170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030957215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1766635972 w 120"/>
                <a:gd name="T53" fmla="*/ 2147483647 h 56"/>
                <a:gd name="T54" fmla="*/ 1177873964 w 120"/>
                <a:gd name="T55" fmla="*/ 2147483647 h 56"/>
                <a:gd name="T56" fmla="*/ 588936982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6" name="Freeform 2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963059" y="3958935"/>
              <a:ext cx="240789" cy="105512"/>
            </a:xfrm>
            <a:custGeom>
              <a:avLst/>
              <a:gdLst>
                <a:gd name="T0" fmla="*/ 2147483647 w 574"/>
                <a:gd name="T1" fmla="*/ 138304015 h 204"/>
                <a:gd name="T2" fmla="*/ 2147483647 w 574"/>
                <a:gd name="T3" fmla="*/ 830089809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1181139598 w 574"/>
                <a:gd name="T11" fmla="*/ 2147483647 h 204"/>
                <a:gd name="T12" fmla="*/ 295284899 w 574"/>
                <a:gd name="T13" fmla="*/ 2147483647 h 204"/>
                <a:gd name="T14" fmla="*/ 0 w 574"/>
                <a:gd name="T15" fmla="*/ 2147483647 h 204"/>
                <a:gd name="T16" fmla="*/ 73733446 w 574"/>
                <a:gd name="T17" fmla="*/ 2147483647 h 204"/>
                <a:gd name="T18" fmla="*/ 959588643 w 574"/>
                <a:gd name="T19" fmla="*/ 2147483647 h 204"/>
                <a:gd name="T20" fmla="*/ 2140728241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7" name="Freeform 2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255663" y="4058330"/>
              <a:ext cx="85343" cy="67283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1844423834 h 129"/>
                <a:gd name="T42" fmla="*/ 2147483647 w 207"/>
                <a:gd name="T43" fmla="*/ 993214225 h 129"/>
                <a:gd name="T44" fmla="*/ 2147483647 w 207"/>
                <a:gd name="T45" fmla="*/ 0 h 129"/>
                <a:gd name="T46" fmla="*/ 0 w 207"/>
                <a:gd name="T47" fmla="*/ 0 h 129"/>
                <a:gd name="T48" fmla="*/ 70031152 w 207"/>
                <a:gd name="T49" fmla="*/ 851210130 h 129"/>
                <a:gd name="T50" fmla="*/ 140232577 w 207"/>
                <a:gd name="T51" fmla="*/ 1844423834 h 129"/>
                <a:gd name="T52" fmla="*/ 280295292 w 207"/>
                <a:gd name="T53" fmla="*/ 2147483647 h 129"/>
                <a:gd name="T54" fmla="*/ 420527818 w 207"/>
                <a:gd name="T55" fmla="*/ 2147483647 h 129"/>
                <a:gd name="T56" fmla="*/ 700823110 w 207"/>
                <a:gd name="T57" fmla="*/ 2147483647 h 129"/>
                <a:gd name="T58" fmla="*/ 911087380 w 207"/>
                <a:gd name="T59" fmla="*/ 2147483647 h 129"/>
                <a:gd name="T60" fmla="*/ 1191382569 w 207"/>
                <a:gd name="T61" fmla="*/ 2147483647 h 129"/>
                <a:gd name="T62" fmla="*/ 1261413283 w 207"/>
                <a:gd name="T63" fmla="*/ 2147483647 h 129"/>
                <a:gd name="T64" fmla="*/ 1191382569 w 207"/>
                <a:gd name="T65" fmla="*/ 2147483647 h 129"/>
                <a:gd name="T66" fmla="*/ 981118093 w 207"/>
                <a:gd name="T67" fmla="*/ 2147483647 h 129"/>
                <a:gd name="T68" fmla="*/ 770854648 w 207"/>
                <a:gd name="T69" fmla="*/ 2147483647 h 129"/>
                <a:gd name="T70" fmla="*/ 490559459 w 207"/>
                <a:gd name="T71" fmla="*/ 2147483647 h 129"/>
                <a:gd name="T72" fmla="*/ 0 w 207"/>
                <a:gd name="T73" fmla="*/ 2147483647 h 129"/>
                <a:gd name="T74" fmla="*/ 280295292 w 207"/>
                <a:gd name="T75" fmla="*/ 2147483647 h 129"/>
                <a:gd name="T76" fmla="*/ 911087380 w 207"/>
                <a:gd name="T77" fmla="*/ 2147483647 h 129"/>
                <a:gd name="T78" fmla="*/ 1331444821 w 207"/>
                <a:gd name="T79" fmla="*/ 2147483647 h 129"/>
                <a:gd name="T80" fmla="*/ 1751972535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8" name="Freeform 2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841141" y="4116437"/>
              <a:ext cx="32004" cy="81044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582978468 h 154"/>
                <a:gd name="T4" fmla="*/ 2147483647 w 72"/>
                <a:gd name="T5" fmla="*/ 1311631890 h 154"/>
                <a:gd name="T6" fmla="*/ 2147483647 w 72"/>
                <a:gd name="T7" fmla="*/ 1894609569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1317464993 w 72"/>
                <a:gd name="T41" fmla="*/ 2147483647 h 154"/>
                <a:gd name="T42" fmla="*/ 0 w 72"/>
                <a:gd name="T43" fmla="*/ 2147483647 h 154"/>
                <a:gd name="T44" fmla="*/ 263572053 w 72"/>
                <a:gd name="T45" fmla="*/ 2147483647 h 154"/>
                <a:gd name="T46" fmla="*/ 702595293 w 72"/>
                <a:gd name="T47" fmla="*/ 2147483647 h 154"/>
                <a:gd name="T48" fmla="*/ 790518690 w 72"/>
                <a:gd name="T49" fmla="*/ 2147483647 h 154"/>
                <a:gd name="T50" fmla="*/ 1053892607 w 72"/>
                <a:gd name="T51" fmla="*/ 2147483647 h 154"/>
                <a:gd name="T52" fmla="*/ 1317464993 w 72"/>
                <a:gd name="T53" fmla="*/ 2147483647 h 154"/>
                <a:gd name="T54" fmla="*/ 1756487678 w 72"/>
                <a:gd name="T55" fmla="*/ 2147483647 h 154"/>
                <a:gd name="T56" fmla="*/ 1756487678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59" name="Freeform 2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764942" y="4116437"/>
              <a:ext cx="89915" cy="140682"/>
            </a:xfrm>
            <a:custGeom>
              <a:avLst/>
              <a:gdLst>
                <a:gd name="T0" fmla="*/ 593342403 w 214"/>
                <a:gd name="T1" fmla="*/ 2147483647 h 271"/>
                <a:gd name="T2" fmla="*/ 890101524 w 214"/>
                <a:gd name="T3" fmla="*/ 2147483647 h 271"/>
                <a:gd name="T4" fmla="*/ 1780203048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419592052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0" name="Freeform 2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810661" y="4223478"/>
              <a:ext cx="68580" cy="55049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1260740599 w 153"/>
                <a:gd name="T49" fmla="*/ 2147483647 h 80"/>
                <a:gd name="T50" fmla="*/ 0 w 153"/>
                <a:gd name="T51" fmla="*/ 2147483647 h 80"/>
                <a:gd name="T52" fmla="*/ 630470704 w 153"/>
                <a:gd name="T53" fmla="*/ 2147483647 h 80"/>
                <a:gd name="T54" fmla="*/ 2071230818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195507618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1" name="Freeform 2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841141" y="4186778"/>
              <a:ext cx="137158" cy="84103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46418280 h 169"/>
                <a:gd name="T40" fmla="*/ 2147483647 w 332"/>
                <a:gd name="T41" fmla="*/ 123332806 h 169"/>
                <a:gd name="T42" fmla="*/ 2147483647 w 332"/>
                <a:gd name="T43" fmla="*/ 0 h 169"/>
                <a:gd name="T44" fmla="*/ 2147483647 w 332"/>
                <a:gd name="T45" fmla="*/ 123332806 h 169"/>
                <a:gd name="T46" fmla="*/ 2147483647 w 332"/>
                <a:gd name="T47" fmla="*/ 493083892 h 169"/>
                <a:gd name="T48" fmla="*/ 2147483647 w 332"/>
                <a:gd name="T49" fmla="*/ 1232585752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044839121 w 332"/>
                <a:gd name="T61" fmla="*/ 2147483647 h 169"/>
                <a:gd name="T62" fmla="*/ 1621739484 w 332"/>
                <a:gd name="T63" fmla="*/ 2147483647 h 169"/>
                <a:gd name="T64" fmla="*/ 1339616323 w 332"/>
                <a:gd name="T65" fmla="*/ 2147483647 h 169"/>
                <a:gd name="T66" fmla="*/ 775540415 w 332"/>
                <a:gd name="T67" fmla="*/ 2147483647 h 169"/>
                <a:gd name="T68" fmla="*/ 49358787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2" name="Freeform 2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857905" y="4215832"/>
              <a:ext cx="120394" cy="117745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880409950 h 235"/>
                <a:gd name="T24" fmla="*/ 2147483647 w 286"/>
                <a:gd name="T25" fmla="*/ 1383501888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1641101279 w 286"/>
                <a:gd name="T55" fmla="*/ 2147483647 h 235"/>
                <a:gd name="T56" fmla="*/ 0 w 286"/>
                <a:gd name="T57" fmla="*/ 2147483647 h 235"/>
                <a:gd name="T58" fmla="*/ 969669279 w 286"/>
                <a:gd name="T59" fmla="*/ 2147483647 h 235"/>
                <a:gd name="T60" fmla="*/ 1939515361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3" name="Freeform 2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906672" y="4324402"/>
              <a:ext cx="80770" cy="96336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1896052727 w 205"/>
                <a:gd name="T31" fmla="*/ 2147483647 h 191"/>
                <a:gd name="T32" fmla="*/ 1590237505 w 205"/>
                <a:gd name="T33" fmla="*/ 2147483647 h 191"/>
                <a:gd name="T34" fmla="*/ 1773726796 w 205"/>
                <a:gd name="T35" fmla="*/ 2147483647 h 191"/>
                <a:gd name="T36" fmla="*/ 2079541625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795118752 w 205"/>
                <a:gd name="T43" fmla="*/ 2147483647 h 191"/>
                <a:gd name="T44" fmla="*/ 244651962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183488947 w 205"/>
                <a:gd name="T51" fmla="*/ 2147483647 h 191"/>
                <a:gd name="T52" fmla="*/ 489303923 w 205"/>
                <a:gd name="T53" fmla="*/ 2147483647 h 191"/>
                <a:gd name="T54" fmla="*/ 856281915 w 205"/>
                <a:gd name="T55" fmla="*/ 1668075465 h 191"/>
                <a:gd name="T56" fmla="*/ 1223259710 w 205"/>
                <a:gd name="T57" fmla="*/ 513371480 h 191"/>
                <a:gd name="T58" fmla="*/ 1712563830 w 205"/>
                <a:gd name="T59" fmla="*/ 0 h 191"/>
                <a:gd name="T60" fmla="*/ 2147483647 w 205"/>
                <a:gd name="T61" fmla="*/ 769802825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4" name="Freeform 224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984395" y="4376393"/>
              <a:ext cx="137158" cy="76457"/>
            </a:xfrm>
            <a:custGeom>
              <a:avLst/>
              <a:gdLst>
                <a:gd name="T0" fmla="*/ 217424167 w 329"/>
                <a:gd name="T1" fmla="*/ 2147483647 h 154"/>
                <a:gd name="T2" fmla="*/ 0 w 329"/>
                <a:gd name="T3" fmla="*/ 2147483647 h 154"/>
                <a:gd name="T4" fmla="*/ 144949323 w 329"/>
                <a:gd name="T5" fmla="*/ 2147483647 h 154"/>
                <a:gd name="T6" fmla="*/ 123172215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1590822792 h 154"/>
                <a:gd name="T20" fmla="*/ 2147483647 w 329"/>
                <a:gd name="T21" fmla="*/ 489521830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734283056 h 154"/>
                <a:gd name="T28" fmla="*/ 2147483647 w 329"/>
                <a:gd name="T29" fmla="*/ 1835584390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1594095960 w 329"/>
                <a:gd name="T95" fmla="*/ 2147483647 h 154"/>
                <a:gd name="T96" fmla="*/ 21742416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5" name="Freeform 225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638182" y="5584419"/>
              <a:ext cx="128014" cy="149856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73155814 w 306"/>
                <a:gd name="T37" fmla="*/ 2147483647 h 293"/>
                <a:gd name="T38" fmla="*/ 0 w 306"/>
                <a:gd name="T39" fmla="*/ 2147483647 h 293"/>
                <a:gd name="T40" fmla="*/ 73155814 w 306"/>
                <a:gd name="T41" fmla="*/ 2147483647 h 293"/>
                <a:gd name="T42" fmla="*/ 292798127 w 306"/>
                <a:gd name="T43" fmla="*/ 2147483647 h 293"/>
                <a:gd name="T44" fmla="*/ 805412938 w 306"/>
                <a:gd name="T45" fmla="*/ 2147483647 h 293"/>
                <a:gd name="T46" fmla="*/ 1464339430 w 306"/>
                <a:gd name="T47" fmla="*/ 1070405874 h 293"/>
                <a:gd name="T48" fmla="*/ 2147483647 w 306"/>
                <a:gd name="T49" fmla="*/ 267601341 h 293"/>
                <a:gd name="T50" fmla="*/ 2147483647 w 306"/>
                <a:gd name="T51" fmla="*/ 0 h 293"/>
                <a:gd name="T52" fmla="*/ 2147483647 w 306"/>
                <a:gd name="T53" fmla="*/ 802804597 h 293"/>
                <a:gd name="T54" fmla="*/ 2147483647 w 306"/>
                <a:gd name="T55" fmla="*/ 936474559 h 293"/>
                <a:gd name="T56" fmla="*/ 2147483647 w 306"/>
                <a:gd name="T57" fmla="*/ 535203193 h 293"/>
                <a:gd name="T58" fmla="*/ 2147483647 w 306"/>
                <a:gd name="T59" fmla="*/ 668873283 h 293"/>
                <a:gd name="T60" fmla="*/ 2147483647 w 306"/>
                <a:gd name="T61" fmla="*/ 1471677880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6" name="Freeform 226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5122538" y="2325805"/>
              <a:ext cx="227072" cy="88691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1886295415 h 173"/>
                <a:gd name="T18" fmla="*/ 2147483647 w 546"/>
                <a:gd name="T19" fmla="*/ 1482070689 h 173"/>
                <a:gd name="T20" fmla="*/ 2147483647 w 546"/>
                <a:gd name="T21" fmla="*/ 404224854 h 173"/>
                <a:gd name="T22" fmla="*/ 2147483647 w 546"/>
                <a:gd name="T23" fmla="*/ 673620980 h 173"/>
                <a:gd name="T24" fmla="*/ 2147483647 w 546"/>
                <a:gd name="T25" fmla="*/ 1616899417 h 173"/>
                <a:gd name="T26" fmla="*/ 2147483647 w 546"/>
                <a:gd name="T27" fmla="*/ 943279462 h 173"/>
                <a:gd name="T28" fmla="*/ 2147483647 w 546"/>
                <a:gd name="T29" fmla="*/ 0 h 173"/>
                <a:gd name="T30" fmla="*/ 2147483647 w 546"/>
                <a:gd name="T31" fmla="*/ 943279462 h 173"/>
                <a:gd name="T32" fmla="*/ 2147483647 w 546"/>
                <a:gd name="T33" fmla="*/ 943279462 h 173"/>
                <a:gd name="T34" fmla="*/ 2147483647 w 546"/>
                <a:gd name="T35" fmla="*/ 134829305 h 173"/>
                <a:gd name="T36" fmla="*/ 2147483647 w 546"/>
                <a:gd name="T37" fmla="*/ 808450221 h 173"/>
                <a:gd name="T38" fmla="*/ 2147483647 w 546"/>
                <a:gd name="T39" fmla="*/ 161689941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1150865675 w 546"/>
                <a:gd name="T95" fmla="*/ 2147483647 h 173"/>
                <a:gd name="T96" fmla="*/ 791285055 w 546"/>
                <a:gd name="T97" fmla="*/ 2147483647 h 173"/>
                <a:gd name="T98" fmla="*/ 2014100291 w 546"/>
                <a:gd name="T99" fmla="*/ 2147483647 h 173"/>
                <a:gd name="T100" fmla="*/ 2147483647 w 546"/>
                <a:gd name="T101" fmla="*/ 161689941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7" name="Freeform 227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052435" y="2547532"/>
              <a:ext cx="431286" cy="348646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1294860120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575474371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1438772330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1677143810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1547955859 h 690"/>
                <a:gd name="T76" fmla="*/ 2147483647 w 1037"/>
                <a:gd name="T77" fmla="*/ 774105767 h 690"/>
                <a:gd name="T78" fmla="*/ 2147483647 w 1037"/>
                <a:gd name="T79" fmla="*/ 1031970826 h 690"/>
                <a:gd name="T80" fmla="*/ 2147483647 w 1037"/>
                <a:gd name="T81" fmla="*/ 1419023583 h 690"/>
                <a:gd name="T82" fmla="*/ 2147483647 w 1037"/>
                <a:gd name="T83" fmla="*/ 77410576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8" name="Freeform 228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378566" y="3357980"/>
              <a:ext cx="47243" cy="87161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046167235 h 173"/>
                <a:gd name="T8" fmla="*/ 2147483647 w 120"/>
                <a:gd name="T9" fmla="*/ 1023210580 h 173"/>
                <a:gd name="T10" fmla="*/ 2147483647 w 120"/>
                <a:gd name="T11" fmla="*/ 511478327 h 173"/>
                <a:gd name="T12" fmla="*/ 2147483647 w 120"/>
                <a:gd name="T13" fmla="*/ 255865875 h 173"/>
                <a:gd name="T14" fmla="*/ 2147483647 w 120"/>
                <a:gd name="T15" fmla="*/ 127933189 h 173"/>
                <a:gd name="T16" fmla="*/ 2147483647 w 120"/>
                <a:gd name="T17" fmla="*/ 0 h 173"/>
                <a:gd name="T18" fmla="*/ 2013670160 w 120"/>
                <a:gd name="T19" fmla="*/ 0 h 173"/>
                <a:gd name="T20" fmla="*/ 1647576766 w 120"/>
                <a:gd name="T21" fmla="*/ 127933189 h 173"/>
                <a:gd name="T22" fmla="*/ 1464529872 w 120"/>
                <a:gd name="T23" fmla="*/ 383545170 h 173"/>
                <a:gd name="T24" fmla="*/ 1281482978 w 120"/>
                <a:gd name="T25" fmla="*/ 639411611 h 173"/>
                <a:gd name="T26" fmla="*/ 1159348831 w 120"/>
                <a:gd name="T27" fmla="*/ 1023210580 h 173"/>
                <a:gd name="T28" fmla="*/ 976301937 w 120"/>
                <a:gd name="T29" fmla="*/ 1534688529 h 173"/>
                <a:gd name="T30" fmla="*/ 915234076 w 120"/>
                <a:gd name="T31" fmla="*/ 1918234077 h 173"/>
                <a:gd name="T32" fmla="*/ 915234076 w 120"/>
                <a:gd name="T33" fmla="*/ 2147483647 h 173"/>
                <a:gd name="T34" fmla="*/ 854322116 w 120"/>
                <a:gd name="T35" fmla="*/ 2147483647 h 173"/>
                <a:gd name="T36" fmla="*/ 732187379 w 120"/>
                <a:gd name="T37" fmla="*/ 2147483647 h 173"/>
                <a:gd name="T38" fmla="*/ 610207952 w 120"/>
                <a:gd name="T39" fmla="*/ 2147483647 h 173"/>
                <a:gd name="T40" fmla="*/ 488228526 w 120"/>
                <a:gd name="T41" fmla="*/ 2147483647 h 173"/>
                <a:gd name="T42" fmla="*/ 244114066 w 120"/>
                <a:gd name="T43" fmla="*/ 2147483647 h 173"/>
                <a:gd name="T44" fmla="*/ 0 w 120"/>
                <a:gd name="T45" fmla="*/ 2147483647 h 173"/>
                <a:gd name="T46" fmla="*/ 305026419 w 120"/>
                <a:gd name="T47" fmla="*/ 2147483647 h 173"/>
                <a:gd name="T48" fmla="*/ 610207952 w 120"/>
                <a:gd name="T49" fmla="*/ 2147483647 h 173"/>
                <a:gd name="T50" fmla="*/ 915234076 w 120"/>
                <a:gd name="T51" fmla="*/ 2147483647 h 173"/>
                <a:gd name="T52" fmla="*/ 1220415904 w 120"/>
                <a:gd name="T53" fmla="*/ 2147483647 h 173"/>
                <a:gd name="T54" fmla="*/ 1464529872 w 120"/>
                <a:gd name="T55" fmla="*/ 2147483647 h 173"/>
                <a:gd name="T56" fmla="*/ 1830624053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69" name="Freeform 229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098154" y="3203536"/>
              <a:ext cx="80770" cy="56579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1844276578 w 200"/>
                <a:gd name="T51" fmla="*/ 2147483647 h 98"/>
                <a:gd name="T52" fmla="*/ 1449096955 w 200"/>
                <a:gd name="T53" fmla="*/ 2147483647 h 98"/>
                <a:gd name="T54" fmla="*/ 988028012 w 200"/>
                <a:gd name="T55" fmla="*/ 2147483647 h 98"/>
                <a:gd name="T56" fmla="*/ 592849802 w 200"/>
                <a:gd name="T57" fmla="*/ 2147483647 h 98"/>
                <a:gd name="T58" fmla="*/ 263398260 w 200"/>
                <a:gd name="T59" fmla="*/ 2147483647 h 98"/>
                <a:gd name="T60" fmla="*/ 65890152 w 200"/>
                <a:gd name="T61" fmla="*/ 2147483647 h 98"/>
                <a:gd name="T62" fmla="*/ 0 w 200"/>
                <a:gd name="T63" fmla="*/ 2147483647 h 98"/>
                <a:gd name="T64" fmla="*/ 329288387 w 200"/>
                <a:gd name="T65" fmla="*/ 2147483647 h 98"/>
                <a:gd name="T66" fmla="*/ 658739928 w 200"/>
                <a:gd name="T67" fmla="*/ 2147483647 h 98"/>
                <a:gd name="T68" fmla="*/ 922138289 w 200"/>
                <a:gd name="T69" fmla="*/ 2147483647 h 98"/>
                <a:gd name="T70" fmla="*/ 1317316701 w 200"/>
                <a:gd name="T71" fmla="*/ 2147483647 h 98"/>
                <a:gd name="T72" fmla="*/ 1514987485 w 200"/>
                <a:gd name="T73" fmla="*/ 2147483647 h 98"/>
                <a:gd name="T74" fmla="*/ 1778386048 w 200"/>
                <a:gd name="T75" fmla="*/ 2147483647 h 98"/>
                <a:gd name="T76" fmla="*/ 1976056024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1731919023 h 98"/>
                <a:gd name="T84" fmla="*/ 2147483647 w 200"/>
                <a:gd name="T85" fmla="*/ 76963090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98"/>
                <a:gd name="T173" fmla="*/ 200 w 200"/>
                <a:gd name="T174" fmla="*/ 98 h 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0" name="Freeform 23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038718" y="3029213"/>
              <a:ext cx="80771" cy="70341"/>
            </a:xfrm>
            <a:custGeom>
              <a:avLst/>
              <a:gdLst>
                <a:gd name="T0" fmla="*/ 0 w 186"/>
                <a:gd name="T1" fmla="*/ 2147483647 h 142"/>
                <a:gd name="T2" fmla="*/ 163872200 w 186"/>
                <a:gd name="T3" fmla="*/ 2147483647 h 142"/>
                <a:gd name="T4" fmla="*/ 245713661 w 186"/>
                <a:gd name="T5" fmla="*/ 2147483647 h 142"/>
                <a:gd name="T6" fmla="*/ 245713661 w 186"/>
                <a:gd name="T7" fmla="*/ 2147483647 h 142"/>
                <a:gd name="T8" fmla="*/ 736952842 w 186"/>
                <a:gd name="T9" fmla="*/ 2147483647 h 142"/>
                <a:gd name="T10" fmla="*/ 1392062976 w 186"/>
                <a:gd name="T11" fmla="*/ 2147483647 h 142"/>
                <a:gd name="T12" fmla="*/ 1637776962 w 186"/>
                <a:gd name="T13" fmla="*/ 2147483647 h 142"/>
                <a:gd name="T14" fmla="*/ 1883491383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066349703 h 142"/>
                <a:gd name="T40" fmla="*/ 2147483647 w 186"/>
                <a:gd name="T41" fmla="*/ 1701714995 h 142"/>
                <a:gd name="T42" fmla="*/ 2147483647 w 186"/>
                <a:gd name="T43" fmla="*/ 1215615302 h 142"/>
                <a:gd name="T44" fmla="*/ 2147483647 w 186"/>
                <a:gd name="T45" fmla="*/ 729271150 h 142"/>
                <a:gd name="T46" fmla="*/ 2147483647 w 186"/>
                <a:gd name="T47" fmla="*/ 364635822 h 142"/>
                <a:gd name="T48" fmla="*/ 2147483647 w 186"/>
                <a:gd name="T49" fmla="*/ 121463530 h 142"/>
                <a:gd name="T50" fmla="*/ 2147483647 w 186"/>
                <a:gd name="T51" fmla="*/ 243172262 h 142"/>
                <a:gd name="T52" fmla="*/ 2147483647 w 186"/>
                <a:gd name="T53" fmla="*/ 121463530 h 142"/>
                <a:gd name="T54" fmla="*/ 2147483647 w 186"/>
                <a:gd name="T55" fmla="*/ 1215615302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655111002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1" name="Freeform 2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020431" y="3090379"/>
              <a:ext cx="80771" cy="55049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1414550066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1873483121 h 105"/>
                <a:gd name="T40" fmla="*/ 521187122 w 192"/>
                <a:gd name="T41" fmla="*/ 1008756641 h 105"/>
                <a:gd name="T42" fmla="*/ 1191209067 w 192"/>
                <a:gd name="T43" fmla="*/ 576393008 h 105"/>
                <a:gd name="T44" fmla="*/ 2147483647 w 192"/>
                <a:gd name="T45" fmla="*/ 144029703 h 105"/>
                <a:gd name="T46" fmla="*/ 2147483647 w 192"/>
                <a:gd name="T47" fmla="*/ 0 h 105"/>
                <a:gd name="T48" fmla="*/ 2147483647 w 192"/>
                <a:gd name="T49" fmla="*/ 288334127 h 105"/>
                <a:gd name="T50" fmla="*/ 2147483647 w 192"/>
                <a:gd name="T51" fmla="*/ 720422646 h 105"/>
                <a:gd name="T52" fmla="*/ 2147483647 w 192"/>
                <a:gd name="T53" fmla="*/ 1008756641 h 105"/>
                <a:gd name="T54" fmla="*/ 2147483647 w 192"/>
                <a:gd name="T55" fmla="*/ 1008756641 h 105"/>
                <a:gd name="T56" fmla="*/ 2147483647 w 192"/>
                <a:gd name="T57" fmla="*/ 1008756641 h 105"/>
                <a:gd name="T58" fmla="*/ 2147483647 w 192"/>
                <a:gd name="T59" fmla="*/ 864727004 h 105"/>
                <a:gd name="T60" fmla="*/ 2147483647 w 192"/>
                <a:gd name="T61" fmla="*/ 1585149125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2"/>
                <a:gd name="T130" fmla="*/ 0 h 105"/>
                <a:gd name="T131" fmla="*/ 192 w 192"/>
                <a:gd name="T132" fmla="*/ 105 h 1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2" name="Freeform 2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750417" y="3624052"/>
              <a:ext cx="32003" cy="126919"/>
            </a:xfrm>
            <a:custGeom>
              <a:avLst/>
              <a:gdLst>
                <a:gd name="T0" fmla="*/ 2112554828 w 80"/>
                <a:gd name="T1" fmla="*/ 0 h 254"/>
                <a:gd name="T2" fmla="*/ 2147483647 w 80"/>
                <a:gd name="T3" fmla="*/ 249431315 h 254"/>
                <a:gd name="T4" fmla="*/ 2147483647 w 80"/>
                <a:gd name="T5" fmla="*/ 499112970 h 254"/>
                <a:gd name="T6" fmla="*/ 2147483647 w 80"/>
                <a:gd name="T7" fmla="*/ 873384644 h 254"/>
                <a:gd name="T8" fmla="*/ 2147483647 w 80"/>
                <a:gd name="T9" fmla="*/ 1247656942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56048005 w 80"/>
                <a:gd name="T35" fmla="*/ 2147483647 h 254"/>
                <a:gd name="T36" fmla="*/ 704131938 w 80"/>
                <a:gd name="T37" fmla="*/ 2147483647 h 254"/>
                <a:gd name="T38" fmla="*/ 1088363609 w 80"/>
                <a:gd name="T39" fmla="*/ 2147483647 h 254"/>
                <a:gd name="T40" fmla="*/ 1408423890 w 80"/>
                <a:gd name="T41" fmla="*/ 2147483647 h 254"/>
                <a:gd name="T42" fmla="*/ 1792496147 w 80"/>
                <a:gd name="T43" fmla="*/ 2147483647 h 254"/>
                <a:gd name="T44" fmla="*/ 2112554828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3" name="Freeform 2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5701650" y="3674513"/>
              <a:ext cx="67055" cy="125390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071565897 w 167"/>
                <a:gd name="T45" fmla="*/ 2147483647 h 259"/>
                <a:gd name="T46" fmla="*/ 1942102414 w 167"/>
                <a:gd name="T47" fmla="*/ 2147483647 h 259"/>
                <a:gd name="T48" fmla="*/ 1877291170 w 167"/>
                <a:gd name="T49" fmla="*/ 2147483647 h 259"/>
                <a:gd name="T50" fmla="*/ 1812638931 w 167"/>
                <a:gd name="T51" fmla="*/ 2147483647 h 259"/>
                <a:gd name="T52" fmla="*/ 1812638931 w 167"/>
                <a:gd name="T53" fmla="*/ 2147483647 h 259"/>
                <a:gd name="T54" fmla="*/ 1359439246 w 167"/>
                <a:gd name="T55" fmla="*/ 2147483647 h 259"/>
                <a:gd name="T56" fmla="*/ 1035701840 w 167"/>
                <a:gd name="T57" fmla="*/ 2147483647 h 259"/>
                <a:gd name="T58" fmla="*/ 712126048 w 167"/>
                <a:gd name="T59" fmla="*/ 2147483647 h 259"/>
                <a:gd name="T60" fmla="*/ 453200287 w 167"/>
                <a:gd name="T61" fmla="*/ 2147483647 h 259"/>
                <a:gd name="T62" fmla="*/ 323737507 w 167"/>
                <a:gd name="T63" fmla="*/ 2147483647 h 259"/>
                <a:gd name="T64" fmla="*/ 129462730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64812072 w 167"/>
                <a:gd name="T73" fmla="*/ 2147483647 h 259"/>
                <a:gd name="T74" fmla="*/ 776776681 w 167"/>
                <a:gd name="T75" fmla="*/ 2147483647 h 259"/>
                <a:gd name="T76" fmla="*/ 1424251293 w 167"/>
                <a:gd name="T77" fmla="*/ 2147483647 h 259"/>
                <a:gd name="T78" fmla="*/ 207156589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1475206845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4" name="Freeform 2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43066" y="2955814"/>
              <a:ext cx="92963" cy="139153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1340062108 w 225"/>
                <a:gd name="T39" fmla="*/ 2147483647 h 273"/>
                <a:gd name="T40" fmla="*/ 0 w 225"/>
                <a:gd name="T41" fmla="*/ 2147483647 h 273"/>
                <a:gd name="T42" fmla="*/ 1481237747 w 225"/>
                <a:gd name="T43" fmla="*/ 2147483647 h 273"/>
                <a:gd name="T44" fmla="*/ 1833751282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987377935 w 225"/>
                <a:gd name="T61" fmla="*/ 2147483647 h 273"/>
                <a:gd name="T62" fmla="*/ 423186570 w 225"/>
                <a:gd name="T63" fmla="*/ 2147483647 h 273"/>
                <a:gd name="T64" fmla="*/ 1551740041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927010621 h 273"/>
                <a:gd name="T82" fmla="*/ 2147483647 w 225"/>
                <a:gd name="T83" fmla="*/ 132504212 h 273"/>
                <a:gd name="T84" fmla="*/ 2147483647 w 225"/>
                <a:gd name="T85" fmla="*/ 397253221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5" name="Freeform 2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563237" y="3833545"/>
              <a:ext cx="294128" cy="376170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6" name="Freeform 23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674488" y="3891652"/>
              <a:ext cx="397758" cy="451099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154688068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2103339 w 948"/>
                <a:gd name="T107" fmla="*/ 2147483647 h 893"/>
                <a:gd name="T108" fmla="*/ 110802049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7" name="Freeform 23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768974" y="3512424"/>
              <a:ext cx="473957" cy="558139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8" name="Freeform 23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188068" y="3642402"/>
              <a:ext cx="368803" cy="420515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791797692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527692332 h 826"/>
                <a:gd name="T46" fmla="*/ 2147483647 w 877"/>
                <a:gd name="T47" fmla="*/ 0 h 826"/>
                <a:gd name="T48" fmla="*/ 2147483647 w 877"/>
                <a:gd name="T49" fmla="*/ 791797692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082335171 w 877"/>
                <a:gd name="T105" fmla="*/ 2147483647 h 826"/>
                <a:gd name="T106" fmla="*/ 1189804825 w 877"/>
                <a:gd name="T107" fmla="*/ 2147483647 h 826"/>
                <a:gd name="T108" fmla="*/ 1041079275 w 877"/>
                <a:gd name="T109" fmla="*/ 2147483647 h 826"/>
                <a:gd name="T110" fmla="*/ 1412981462 w 877"/>
                <a:gd name="T111" fmla="*/ 2147483647 h 826"/>
                <a:gd name="T112" fmla="*/ 1264255912 w 877"/>
                <a:gd name="T113" fmla="*/ 2147483647 h 826"/>
                <a:gd name="T114" fmla="*/ 297451206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79" name="Freeform 23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142349" y="3512424"/>
              <a:ext cx="89915" cy="227844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1381167423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1829517859 w 206"/>
                <a:gd name="T83" fmla="*/ 2147483647 h 455"/>
                <a:gd name="T84" fmla="*/ 1663197855 w 206"/>
                <a:gd name="T85" fmla="*/ 2147483647 h 455"/>
                <a:gd name="T86" fmla="*/ 1663197855 w 206"/>
                <a:gd name="T87" fmla="*/ 2147483647 h 455"/>
                <a:gd name="T88" fmla="*/ 997918713 w 206"/>
                <a:gd name="T89" fmla="*/ 2147483647 h 455"/>
                <a:gd name="T90" fmla="*/ 665279360 w 206"/>
                <a:gd name="T91" fmla="*/ 2147483647 h 455"/>
                <a:gd name="T92" fmla="*/ 0 w 206"/>
                <a:gd name="T93" fmla="*/ 2147483647 h 455"/>
                <a:gd name="T94" fmla="*/ 1829517859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0" name="Freeform 24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549521" y="3812137"/>
              <a:ext cx="222501" cy="207964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1743556961 w 518"/>
                <a:gd name="T21" fmla="*/ 2147483647 h 406"/>
                <a:gd name="T22" fmla="*/ 396313290 w 518"/>
                <a:gd name="T23" fmla="*/ 2147483647 h 406"/>
                <a:gd name="T24" fmla="*/ 79336630 w 518"/>
                <a:gd name="T25" fmla="*/ 2147483647 h 406"/>
                <a:gd name="T26" fmla="*/ 79336630 w 518"/>
                <a:gd name="T27" fmla="*/ 2147483647 h 406"/>
                <a:gd name="T28" fmla="*/ 316976687 w 518"/>
                <a:gd name="T29" fmla="*/ 2147483647 h 406"/>
                <a:gd name="T30" fmla="*/ 871778481 w 518"/>
                <a:gd name="T31" fmla="*/ 2147483647 h 406"/>
                <a:gd name="T32" fmla="*/ 158506845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1075217096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1" name="Freeform 24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519042" y="2663747"/>
              <a:ext cx="182877" cy="90219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1822928503 h 178"/>
                <a:gd name="T10" fmla="*/ 2147483647 w 446"/>
                <a:gd name="T11" fmla="*/ 0 h 178"/>
                <a:gd name="T12" fmla="*/ 2147483647 w 446"/>
                <a:gd name="T13" fmla="*/ 130194436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1432190148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1861381462 w 446"/>
                <a:gd name="T77" fmla="*/ 2147483647 h 178"/>
                <a:gd name="T78" fmla="*/ 62040451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1585645255 w 446"/>
                <a:gd name="T87" fmla="*/ 2147483647 h 178"/>
                <a:gd name="T88" fmla="*/ 1103109252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2" name="Freeform 24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279507" y="2917585"/>
              <a:ext cx="13716" cy="55049"/>
            </a:xfrm>
            <a:custGeom>
              <a:avLst/>
              <a:gdLst>
                <a:gd name="T0" fmla="*/ 0 w 28"/>
                <a:gd name="T1" fmla="*/ 2147483647 h 73"/>
                <a:gd name="T2" fmla="*/ 235160817 w 28"/>
                <a:gd name="T3" fmla="*/ 2147483647 h 73"/>
                <a:gd name="T4" fmla="*/ 705242483 w 28"/>
                <a:gd name="T5" fmla="*/ 2147483647 h 73"/>
                <a:gd name="T6" fmla="*/ 822822861 w 28"/>
                <a:gd name="T7" fmla="*/ 2147483647 h 73"/>
                <a:gd name="T8" fmla="*/ 705242483 w 28"/>
                <a:gd name="T9" fmla="*/ 2147483647 h 73"/>
                <a:gd name="T10" fmla="*/ 470081604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1998386855 w 28"/>
                <a:gd name="T19" fmla="*/ 2147483647 h 73"/>
                <a:gd name="T20" fmla="*/ 1410484966 w 28"/>
                <a:gd name="T21" fmla="*/ 2147483647 h 73"/>
                <a:gd name="T22" fmla="*/ 822822861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3" name="Freeform 24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171305" y="2593406"/>
              <a:ext cx="225549" cy="38075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1072977726 w 531"/>
                <a:gd name="T53" fmla="*/ 2147483647 h 757"/>
                <a:gd name="T54" fmla="*/ 1456015821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1654304131 h 757"/>
                <a:gd name="T88" fmla="*/ 2147483647 w 531"/>
                <a:gd name="T89" fmla="*/ 636270645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4" name="Freeform 24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303891" y="2896177"/>
              <a:ext cx="25908" cy="55049"/>
            </a:xfrm>
            <a:custGeom>
              <a:avLst/>
              <a:gdLst>
                <a:gd name="T0" fmla="*/ 0 w 60"/>
                <a:gd name="T1" fmla="*/ 2147483647 h 51"/>
                <a:gd name="T2" fmla="*/ 483095342 w 60"/>
                <a:gd name="T3" fmla="*/ 2147483647 h 51"/>
                <a:gd name="T4" fmla="*/ 1207644547 w 60"/>
                <a:gd name="T5" fmla="*/ 2147483647 h 51"/>
                <a:gd name="T6" fmla="*/ 1610192586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1610192586 w 60"/>
                <a:gd name="T39" fmla="*/ 2147483647 h 51"/>
                <a:gd name="T40" fmla="*/ 1207644547 w 60"/>
                <a:gd name="T41" fmla="*/ 2147483647 h 51"/>
                <a:gd name="T42" fmla="*/ 563641998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5" name="Freeform 24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770498" y="3052150"/>
              <a:ext cx="27432" cy="55049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1579658105 w 66"/>
                <a:gd name="T5" fmla="*/ 2147483647 h 51"/>
                <a:gd name="T6" fmla="*/ 1220676469 w 66"/>
                <a:gd name="T7" fmla="*/ 2147483647 h 51"/>
                <a:gd name="T8" fmla="*/ 933387084 w 66"/>
                <a:gd name="T9" fmla="*/ 2147483647 h 51"/>
                <a:gd name="T10" fmla="*/ 717963896 w 66"/>
                <a:gd name="T11" fmla="*/ 2147483647 h 51"/>
                <a:gd name="T12" fmla="*/ 502540084 w 66"/>
                <a:gd name="T13" fmla="*/ 2147483647 h 51"/>
                <a:gd name="T14" fmla="*/ 215423864 w 66"/>
                <a:gd name="T15" fmla="*/ 2147483647 h 51"/>
                <a:gd name="T16" fmla="*/ 71865598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87289073 w 66"/>
                <a:gd name="T23" fmla="*/ 2147483647 h 51"/>
                <a:gd name="T24" fmla="*/ 717963896 w 66"/>
                <a:gd name="T25" fmla="*/ 2147483647 h 51"/>
                <a:gd name="T26" fmla="*/ 1005253072 w 66"/>
                <a:gd name="T27" fmla="*/ 2147483647 h 51"/>
                <a:gd name="T28" fmla="*/ 1364234708 w 66"/>
                <a:gd name="T29" fmla="*/ 2147483647 h 51"/>
                <a:gd name="T30" fmla="*/ 1866947073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1257129351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6" name="Freeform 24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684885" y="3561356"/>
              <a:ext cx="48767" cy="55049"/>
            </a:xfrm>
            <a:custGeom>
              <a:avLst/>
              <a:gdLst>
                <a:gd name="T0" fmla="*/ 0 w 113"/>
                <a:gd name="T1" fmla="*/ 2147483647 h 74"/>
                <a:gd name="T2" fmla="*/ 1607519134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058630153 h 74"/>
                <a:gd name="T36" fmla="*/ 2147483647 w 113"/>
                <a:gd name="T37" fmla="*/ 1235178166 h 74"/>
                <a:gd name="T38" fmla="*/ 2147483647 w 113"/>
                <a:gd name="T39" fmla="*/ 0 h 74"/>
                <a:gd name="T40" fmla="*/ 2147483647 w 113"/>
                <a:gd name="T41" fmla="*/ 1646903973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1607519134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7" name="Freeform 24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308463" y="4324402"/>
              <a:ext cx="312415" cy="235489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1542488252 w 746"/>
                <a:gd name="T5" fmla="*/ 2147483647 h 469"/>
                <a:gd name="T6" fmla="*/ 367250936 w 746"/>
                <a:gd name="T7" fmla="*/ 2147483647 h 469"/>
                <a:gd name="T8" fmla="*/ 0 w 746"/>
                <a:gd name="T9" fmla="*/ 2147483647 h 469"/>
                <a:gd name="T10" fmla="*/ 367250936 w 746"/>
                <a:gd name="T11" fmla="*/ 2147483647 h 469"/>
                <a:gd name="T12" fmla="*/ 1689283051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759617272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8" name="Freeform 24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247504" y="4486491"/>
              <a:ext cx="480053" cy="532143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21130031 w 1145"/>
                <a:gd name="T69" fmla="*/ 2147483647 h 1053"/>
                <a:gd name="T70" fmla="*/ 2147483647 w 1145"/>
                <a:gd name="T71" fmla="*/ 2147483647 h 1053"/>
                <a:gd name="T72" fmla="*/ 1916168675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1032532048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89" name="Freeform 24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186545" y="4582827"/>
              <a:ext cx="53339" cy="53521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543882502 w 125"/>
                <a:gd name="T25" fmla="*/ 2147483647 h 81"/>
                <a:gd name="T26" fmla="*/ 388565239 w 125"/>
                <a:gd name="T27" fmla="*/ 2147483647 h 81"/>
                <a:gd name="T28" fmla="*/ 233066304 w 125"/>
                <a:gd name="T29" fmla="*/ 2147483647 h 81"/>
                <a:gd name="T30" fmla="*/ 77749494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77749494 w 125"/>
                <a:gd name="T37" fmla="*/ 2147483647 h 81"/>
                <a:gd name="T38" fmla="*/ 155316783 w 125"/>
                <a:gd name="T39" fmla="*/ 2147483647 h 81"/>
                <a:gd name="T40" fmla="*/ 310815771 w 125"/>
                <a:gd name="T41" fmla="*/ 2147483647 h 81"/>
                <a:gd name="T42" fmla="*/ 621631970 w 125"/>
                <a:gd name="T43" fmla="*/ 2147483647 h 81"/>
                <a:gd name="T44" fmla="*/ 854698167 w 125"/>
                <a:gd name="T45" fmla="*/ 2147483647 h 81"/>
                <a:gd name="T46" fmla="*/ 1087764150 w 125"/>
                <a:gd name="T47" fmla="*/ 1442508681 h 81"/>
                <a:gd name="T48" fmla="*/ 1553897398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0" name="Freeform 25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169780" y="4582827"/>
              <a:ext cx="146302" cy="194202"/>
            </a:xfrm>
            <a:custGeom>
              <a:avLst/>
              <a:gdLst>
                <a:gd name="T0" fmla="*/ 2147483647 w 355"/>
                <a:gd name="T1" fmla="*/ 1880910345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1539952480 w 355"/>
                <a:gd name="T71" fmla="*/ 2147483647 h 388"/>
                <a:gd name="T72" fmla="*/ 350043384 w 355"/>
                <a:gd name="T73" fmla="*/ 2147483647 h 388"/>
                <a:gd name="T74" fmla="*/ 69974806 w 355"/>
                <a:gd name="T75" fmla="*/ 2147483647 h 388"/>
                <a:gd name="T76" fmla="*/ 769891344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1504628072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1" name="Freeform 25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681837" y="4972760"/>
              <a:ext cx="249933" cy="501561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386510615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2" name="Freeform 25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5427333" y="5203661"/>
              <a:ext cx="228597" cy="276776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56196217 h 549"/>
                <a:gd name="T68" fmla="*/ 2147483647 w 545"/>
                <a:gd name="T69" fmla="*/ 1665782925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1918728270 w 545"/>
                <a:gd name="T89" fmla="*/ 2147483647 h 549"/>
                <a:gd name="T90" fmla="*/ 368932009 w 545"/>
                <a:gd name="T91" fmla="*/ 2147483647 h 549"/>
                <a:gd name="T92" fmla="*/ 73716024 w 545"/>
                <a:gd name="T93" fmla="*/ 2147483647 h 549"/>
                <a:gd name="T94" fmla="*/ 590432021 w 545"/>
                <a:gd name="T95" fmla="*/ 2147483647 h 549"/>
                <a:gd name="T96" fmla="*/ 590432021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3" name="Freeform 25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977489" y="5012518"/>
              <a:ext cx="188973" cy="418987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1899993396 w 452"/>
                <a:gd name="T87" fmla="*/ 2147483647 h 832"/>
                <a:gd name="T88" fmla="*/ 876933569 w 452"/>
                <a:gd name="T89" fmla="*/ 2147483647 h 832"/>
                <a:gd name="T90" fmla="*/ 219189859 w 452"/>
                <a:gd name="T91" fmla="*/ 2147483647 h 832"/>
                <a:gd name="T92" fmla="*/ 0 w 452"/>
                <a:gd name="T93" fmla="*/ 2147483647 h 832"/>
                <a:gd name="T94" fmla="*/ 292253041 w 452"/>
                <a:gd name="T95" fmla="*/ 2147483647 h 832"/>
                <a:gd name="T96" fmla="*/ 1388551071 w 452"/>
                <a:gd name="T97" fmla="*/ 2147483647 h 832"/>
                <a:gd name="T98" fmla="*/ 803870230 w 452"/>
                <a:gd name="T99" fmla="*/ 2147483647 h 832"/>
                <a:gd name="T100" fmla="*/ 0 w 452"/>
                <a:gd name="T101" fmla="*/ 2147483647 h 832"/>
                <a:gd name="T102" fmla="*/ 365316171 w 452"/>
                <a:gd name="T103" fmla="*/ 2147483647 h 832"/>
                <a:gd name="T104" fmla="*/ 584680841 w 452"/>
                <a:gd name="T105" fmla="*/ 2147483647 h 832"/>
                <a:gd name="T106" fmla="*/ 365316171 w 452"/>
                <a:gd name="T107" fmla="*/ 2147483647 h 832"/>
                <a:gd name="T108" fmla="*/ 1315313183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4" name="Freeform 25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666598" y="4721980"/>
              <a:ext cx="35052" cy="64224"/>
            </a:xfrm>
            <a:custGeom>
              <a:avLst/>
              <a:gdLst>
                <a:gd name="T0" fmla="*/ 2147483647 w 80"/>
                <a:gd name="T1" fmla="*/ 264745090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02897494 w 80"/>
                <a:gd name="T19" fmla="*/ 2147483647 h 126"/>
                <a:gd name="T20" fmla="*/ 1093491852 w 80"/>
                <a:gd name="T21" fmla="*/ 2147483647 h 126"/>
                <a:gd name="T22" fmla="*/ 0 w 80"/>
                <a:gd name="T23" fmla="*/ 2147483647 h 126"/>
                <a:gd name="T24" fmla="*/ 588788593 w 80"/>
                <a:gd name="T25" fmla="*/ 2147483647 h 126"/>
                <a:gd name="T26" fmla="*/ 1934535792 w 80"/>
                <a:gd name="T27" fmla="*/ 2147483647 h 126"/>
                <a:gd name="T28" fmla="*/ 2147483647 w 80"/>
                <a:gd name="T29" fmla="*/ 1589249510 h 126"/>
                <a:gd name="T30" fmla="*/ 2147483647 w 80"/>
                <a:gd name="T31" fmla="*/ 662252497 h 126"/>
                <a:gd name="T32" fmla="*/ 2147483647 w 80"/>
                <a:gd name="T33" fmla="*/ 13250226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132502267 h 126"/>
                <a:gd name="T40" fmla="*/ 2147483647 w 80"/>
                <a:gd name="T41" fmla="*/ 264745090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5" name="Freeform 25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5655930" y="4683751"/>
              <a:ext cx="53339" cy="58108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1837622309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069395255 w 124"/>
                <a:gd name="T33" fmla="*/ 2147483647 h 117"/>
                <a:gd name="T34" fmla="*/ 1830705009 w 124"/>
                <a:gd name="T35" fmla="*/ 2147483647 h 117"/>
                <a:gd name="T36" fmla="*/ 1034697627 w 124"/>
                <a:gd name="T37" fmla="*/ 2147483647 h 117"/>
                <a:gd name="T38" fmla="*/ 318439881 w 124"/>
                <a:gd name="T39" fmla="*/ 2147483647 h 117"/>
                <a:gd name="T40" fmla="*/ 0 w 124"/>
                <a:gd name="T41" fmla="*/ 2147483647 h 117"/>
                <a:gd name="T42" fmla="*/ 79563729 w 124"/>
                <a:gd name="T43" fmla="*/ 2147483647 h 117"/>
                <a:gd name="T44" fmla="*/ 159127458 w 124"/>
                <a:gd name="T45" fmla="*/ 2147483647 h 117"/>
                <a:gd name="T46" fmla="*/ 398003583 w 124"/>
                <a:gd name="T47" fmla="*/ 2147483647 h 117"/>
                <a:gd name="T48" fmla="*/ 716258069 w 124"/>
                <a:gd name="T49" fmla="*/ 2147483647 h 117"/>
                <a:gd name="T50" fmla="*/ 1353137401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1470097748 h 117"/>
                <a:gd name="T58" fmla="*/ 2147483647 w 124"/>
                <a:gd name="T59" fmla="*/ 1470097748 h 117"/>
                <a:gd name="T60" fmla="*/ 2147483647 w 124"/>
                <a:gd name="T61" fmla="*/ 1470097748 h 117"/>
                <a:gd name="T62" fmla="*/ 2147483647 w 124"/>
                <a:gd name="T63" fmla="*/ 735049371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6" name="Freeform 25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953106" y="3431379"/>
              <a:ext cx="483102" cy="455686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129717092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92010484 w 1156"/>
                <a:gd name="T33" fmla="*/ 2076753446 h 900"/>
                <a:gd name="T34" fmla="*/ 365012765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7" name="Freeform 25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975966" y="4064446"/>
              <a:ext cx="237741" cy="220197"/>
            </a:xfrm>
            <a:custGeom>
              <a:avLst/>
              <a:gdLst>
                <a:gd name="T0" fmla="*/ 1876565104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1154889908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8" name="Freeform 25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163415" y="3847307"/>
              <a:ext cx="115822" cy="116215"/>
            </a:xfrm>
            <a:custGeom>
              <a:avLst/>
              <a:gdLst>
                <a:gd name="T0" fmla="*/ 0 w 286"/>
                <a:gd name="T1" fmla="*/ 2147483647 h 228"/>
                <a:gd name="T2" fmla="*/ 265683912 w 286"/>
                <a:gd name="T3" fmla="*/ 2147483647 h 228"/>
                <a:gd name="T4" fmla="*/ 464946769 w 286"/>
                <a:gd name="T5" fmla="*/ 2147483647 h 228"/>
                <a:gd name="T6" fmla="*/ 664209526 w 286"/>
                <a:gd name="T7" fmla="*/ 2147483647 h 228"/>
                <a:gd name="T8" fmla="*/ 730630175 w 286"/>
                <a:gd name="T9" fmla="*/ 2147483647 h 228"/>
                <a:gd name="T10" fmla="*/ 797051229 w 286"/>
                <a:gd name="T11" fmla="*/ 2147483647 h 228"/>
                <a:gd name="T12" fmla="*/ 863472485 w 286"/>
                <a:gd name="T13" fmla="*/ 2147483647 h 228"/>
                <a:gd name="T14" fmla="*/ 929892729 w 286"/>
                <a:gd name="T15" fmla="*/ 2147483647 h 228"/>
                <a:gd name="T16" fmla="*/ 1062734837 w 286"/>
                <a:gd name="T17" fmla="*/ 2147483647 h 228"/>
                <a:gd name="T18" fmla="*/ 1261833580 w 286"/>
                <a:gd name="T19" fmla="*/ 2147483647 h 228"/>
                <a:gd name="T20" fmla="*/ 1593938039 w 286"/>
                <a:gd name="T21" fmla="*/ 2147483647 h 228"/>
                <a:gd name="T22" fmla="*/ 1926042093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926999658 h 228"/>
                <a:gd name="T60" fmla="*/ 2147483647 w 286"/>
                <a:gd name="T61" fmla="*/ 1721495902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99" name="Freeform 25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863191" y="3512424"/>
              <a:ext cx="213357" cy="253839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1396949066 h 505"/>
                <a:gd name="T46" fmla="*/ 2147483647 w 524"/>
                <a:gd name="T47" fmla="*/ 762018211 h 505"/>
                <a:gd name="T48" fmla="*/ 2147483647 w 524"/>
                <a:gd name="T49" fmla="*/ 381008854 h 505"/>
                <a:gd name="T50" fmla="*/ 2147483647 w 524"/>
                <a:gd name="T51" fmla="*/ 101594008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877512095 w 524"/>
                <a:gd name="T71" fmla="*/ 2147483647 h 505"/>
                <a:gd name="T72" fmla="*/ 134950734 w 524"/>
                <a:gd name="T73" fmla="*/ 2147483647 h 505"/>
                <a:gd name="T74" fmla="*/ 134950734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472493718 w 524"/>
                <a:gd name="T81" fmla="*/ 2147483647 h 505"/>
                <a:gd name="T82" fmla="*/ 1755024190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0" name="Freeform 26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343244" y="3474195"/>
              <a:ext cx="318512" cy="279834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512767722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1376717235 w 764"/>
                <a:gd name="T115" fmla="*/ 2147483647 h 555"/>
                <a:gd name="T116" fmla="*/ 724597267 w 764"/>
                <a:gd name="T117" fmla="*/ 2147483647 h 555"/>
                <a:gd name="T118" fmla="*/ 0 w 764"/>
                <a:gd name="T119" fmla="*/ 2147483647 h 555"/>
                <a:gd name="T120" fmla="*/ 144954233 w 764"/>
                <a:gd name="T121" fmla="*/ 2147483647 h 555"/>
                <a:gd name="T122" fmla="*/ 1594149132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1" name="Freeform 26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373724" y="3521598"/>
              <a:ext cx="350515" cy="40828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1271176168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1951186939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2" name="Freeform 26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132665" y="3780025"/>
              <a:ext cx="211834" cy="564255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590514398 w 505"/>
                <a:gd name="T33" fmla="*/ 2147483647 h 1121"/>
                <a:gd name="T34" fmla="*/ 1697641041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3" name="Freeform 26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4563237" y="4270881"/>
              <a:ext cx="77723" cy="56579"/>
            </a:xfrm>
            <a:custGeom>
              <a:avLst/>
              <a:gdLst>
                <a:gd name="T0" fmla="*/ 2147483647 w 180"/>
                <a:gd name="T1" fmla="*/ 902374436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012689081 w 180"/>
                <a:gd name="T41" fmla="*/ 2147483647 h 112"/>
                <a:gd name="T42" fmla="*/ 1449061507 w 180"/>
                <a:gd name="T43" fmla="*/ 2147483647 h 112"/>
                <a:gd name="T44" fmla="*/ 0 w 180"/>
                <a:gd name="T45" fmla="*/ 2147483647 h 112"/>
                <a:gd name="T46" fmla="*/ 2093234263 w 180"/>
                <a:gd name="T47" fmla="*/ 1804748873 h 112"/>
                <a:gd name="T48" fmla="*/ 2147483647 w 180"/>
                <a:gd name="T49" fmla="*/ 1160377890 h 112"/>
                <a:gd name="T50" fmla="*/ 2147483647 w 180"/>
                <a:gd name="T51" fmla="*/ 644626346 h 112"/>
                <a:gd name="T52" fmla="*/ 2147483647 w 180"/>
                <a:gd name="T53" fmla="*/ 386877625 h 112"/>
                <a:gd name="T54" fmla="*/ 2147483647 w 180"/>
                <a:gd name="T55" fmla="*/ 128874329 h 112"/>
                <a:gd name="T56" fmla="*/ 2147483647 w 180"/>
                <a:gd name="T57" fmla="*/ 0 h 112"/>
                <a:gd name="T58" fmla="*/ 2147483647 w 180"/>
                <a:gd name="T59" fmla="*/ 128874329 h 112"/>
                <a:gd name="T60" fmla="*/ 2147483647 w 180"/>
                <a:gd name="T61" fmla="*/ 386877625 h 112"/>
                <a:gd name="T62" fmla="*/ 2147483647 w 180"/>
                <a:gd name="T63" fmla="*/ 902374436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4" name="Freeform 26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4644008" y="4350397"/>
              <a:ext cx="71627" cy="96337"/>
            </a:xfrm>
            <a:custGeom>
              <a:avLst/>
              <a:gdLst>
                <a:gd name="T0" fmla="*/ 0 w 173"/>
                <a:gd name="T1" fmla="*/ 2147483647 h 192"/>
                <a:gd name="T2" fmla="*/ 1916303114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021114996 h 192"/>
                <a:gd name="T8" fmla="*/ 2147483647 w 173"/>
                <a:gd name="T9" fmla="*/ 1515836624 h 192"/>
                <a:gd name="T10" fmla="*/ 2147483647 w 173"/>
                <a:gd name="T11" fmla="*/ 1010557498 h 192"/>
                <a:gd name="T12" fmla="*/ 2147483647 w 173"/>
                <a:gd name="T13" fmla="*/ 758044252 h 192"/>
                <a:gd name="T14" fmla="*/ 2147483647 w 173"/>
                <a:gd name="T15" fmla="*/ 378896437 h 192"/>
                <a:gd name="T16" fmla="*/ 2147483647 w 173"/>
                <a:gd name="T17" fmla="*/ 252765190 h 192"/>
                <a:gd name="T18" fmla="*/ 2147483647 w 173"/>
                <a:gd name="T19" fmla="*/ 126382595 h 192"/>
                <a:gd name="T20" fmla="*/ 2147483647 w 173"/>
                <a:gd name="T21" fmla="*/ 0 h 192"/>
                <a:gd name="T22" fmla="*/ 2147483647 w 173"/>
                <a:gd name="T23" fmla="*/ 126382595 h 192"/>
                <a:gd name="T24" fmla="*/ 2147483647 w 173"/>
                <a:gd name="T25" fmla="*/ 252765190 h 192"/>
                <a:gd name="T26" fmla="*/ 2147483647 w 173"/>
                <a:gd name="T27" fmla="*/ 631661689 h 192"/>
                <a:gd name="T28" fmla="*/ 2147483647 w 173"/>
                <a:gd name="T29" fmla="*/ 1010557498 h 192"/>
                <a:gd name="T30" fmla="*/ 2147483647 w 173"/>
                <a:gd name="T31" fmla="*/ 1642218685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29206636 w 173"/>
                <a:gd name="T77" fmla="*/ 2147483647 h 192"/>
                <a:gd name="T78" fmla="*/ 1561463495 w 173"/>
                <a:gd name="T79" fmla="*/ 2147483647 h 192"/>
                <a:gd name="T80" fmla="*/ 1135485041 w 173"/>
                <a:gd name="T81" fmla="*/ 2147483647 h 192"/>
                <a:gd name="T82" fmla="*/ 638710776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5" name="Freeform 26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4685155" y="4399329"/>
              <a:ext cx="100583" cy="126920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55439596 h 252"/>
                <a:gd name="T4" fmla="*/ 2147483647 w 233"/>
                <a:gd name="T5" fmla="*/ 383286345 h 252"/>
                <a:gd name="T6" fmla="*/ 2147483647 w 233"/>
                <a:gd name="T7" fmla="*/ 383286345 h 252"/>
                <a:gd name="T8" fmla="*/ 2147483647 w 233"/>
                <a:gd name="T9" fmla="*/ 255439596 h 252"/>
                <a:gd name="T10" fmla="*/ 2147483647 w 233"/>
                <a:gd name="T11" fmla="*/ 127846718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1367647414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1788585922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6" name="Freeform 26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4890893" y="4321343"/>
              <a:ext cx="100583" cy="194201"/>
            </a:xfrm>
            <a:custGeom>
              <a:avLst/>
              <a:gdLst>
                <a:gd name="T0" fmla="*/ 888550410 w 246"/>
                <a:gd name="T1" fmla="*/ 2147483647 h 380"/>
                <a:gd name="T2" fmla="*/ 956926390 w 246"/>
                <a:gd name="T3" fmla="*/ 2147483647 h 380"/>
                <a:gd name="T4" fmla="*/ 1025302369 w 246"/>
                <a:gd name="T5" fmla="*/ 2147483647 h 380"/>
                <a:gd name="T6" fmla="*/ 1230429489 w 246"/>
                <a:gd name="T7" fmla="*/ 2147483647 h 380"/>
                <a:gd name="T8" fmla="*/ 1367013810 w 246"/>
                <a:gd name="T9" fmla="*/ 2147483647 h 380"/>
                <a:gd name="T10" fmla="*/ 1708892889 w 246"/>
                <a:gd name="T11" fmla="*/ 2147483647 h 380"/>
                <a:gd name="T12" fmla="*/ 1777267641 w 246"/>
                <a:gd name="T13" fmla="*/ 2147483647 h 380"/>
                <a:gd name="T14" fmla="*/ 1708892889 w 246"/>
                <a:gd name="T15" fmla="*/ 2147483647 h 380"/>
                <a:gd name="T16" fmla="*/ 1572140930 w 246"/>
                <a:gd name="T17" fmla="*/ 2147483647 h 380"/>
                <a:gd name="T18" fmla="*/ 1298805469 w 246"/>
                <a:gd name="T19" fmla="*/ 2147483647 h 380"/>
                <a:gd name="T20" fmla="*/ 888550410 w 246"/>
                <a:gd name="T21" fmla="*/ 2147483647 h 380"/>
                <a:gd name="T22" fmla="*/ 615214745 w 246"/>
                <a:gd name="T23" fmla="*/ 2147483647 h 380"/>
                <a:gd name="T24" fmla="*/ 273335972 w 246"/>
                <a:gd name="T25" fmla="*/ 2147483647 h 380"/>
                <a:gd name="T26" fmla="*/ 68375596 w 246"/>
                <a:gd name="T27" fmla="*/ 2147483647 h 380"/>
                <a:gd name="T28" fmla="*/ 0 w 246"/>
                <a:gd name="T29" fmla="*/ 2147483647 h 380"/>
                <a:gd name="T30" fmla="*/ 68375596 w 246"/>
                <a:gd name="T31" fmla="*/ 2147483647 h 380"/>
                <a:gd name="T32" fmla="*/ 136751601 w 246"/>
                <a:gd name="T33" fmla="*/ 2147483647 h 380"/>
                <a:gd name="T34" fmla="*/ 205127171 w 246"/>
                <a:gd name="T35" fmla="*/ 2147483647 h 380"/>
                <a:gd name="T36" fmla="*/ 410087522 w 246"/>
                <a:gd name="T37" fmla="*/ 2147483647 h 380"/>
                <a:gd name="T38" fmla="*/ 751966294 w 246"/>
                <a:gd name="T39" fmla="*/ 2147483647 h 380"/>
                <a:gd name="T40" fmla="*/ 1298805469 w 246"/>
                <a:gd name="T41" fmla="*/ 2147483647 h 380"/>
                <a:gd name="T42" fmla="*/ 1777267641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1777267641 w 246"/>
                <a:gd name="T51" fmla="*/ 2147483647 h 380"/>
                <a:gd name="T52" fmla="*/ 1777267641 w 246"/>
                <a:gd name="T53" fmla="*/ 2147483647 h 380"/>
                <a:gd name="T54" fmla="*/ 1640516909 w 246"/>
                <a:gd name="T55" fmla="*/ 2147483647 h 380"/>
                <a:gd name="T56" fmla="*/ 1640516909 w 246"/>
                <a:gd name="T57" fmla="*/ 2147483647 h 380"/>
                <a:gd name="T58" fmla="*/ 1640516909 w 246"/>
                <a:gd name="T59" fmla="*/ 2135647642 h 380"/>
                <a:gd name="T60" fmla="*/ 1708892889 w 246"/>
                <a:gd name="T61" fmla="*/ 1067693502 h 380"/>
                <a:gd name="T62" fmla="*/ 1777267641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18979900 w 246"/>
                <a:gd name="T115" fmla="*/ 2147483647 h 380"/>
                <a:gd name="T116" fmla="*/ 1708892889 w 246"/>
                <a:gd name="T117" fmla="*/ 2147483647 h 380"/>
                <a:gd name="T118" fmla="*/ 1367013810 w 246"/>
                <a:gd name="T119" fmla="*/ 2147483647 h 380"/>
                <a:gd name="T120" fmla="*/ 888550410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7" name="Freeform 26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557141" y="4240298"/>
              <a:ext cx="83819" cy="56579"/>
            </a:xfrm>
            <a:custGeom>
              <a:avLst/>
              <a:gdLst>
                <a:gd name="T0" fmla="*/ 573381929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155642930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81857724 w 193"/>
                <a:gd name="T65" fmla="*/ 2147483647 h 38"/>
                <a:gd name="T66" fmla="*/ 245762116 w 193"/>
                <a:gd name="T67" fmla="*/ 2147483647 h 38"/>
                <a:gd name="T68" fmla="*/ 573381929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8" name="Freeform 26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965567" y="4315227"/>
              <a:ext cx="41148" cy="149856"/>
            </a:xfrm>
            <a:custGeom>
              <a:avLst/>
              <a:gdLst>
                <a:gd name="T0" fmla="*/ 2147483647 w 99"/>
                <a:gd name="T1" fmla="*/ 1480745454 h 301"/>
                <a:gd name="T2" fmla="*/ 2147483647 w 99"/>
                <a:gd name="T3" fmla="*/ 1480745454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740372727 h 301"/>
                <a:gd name="T58" fmla="*/ 358981795 w 99"/>
                <a:gd name="T59" fmla="*/ 246873533 h 301"/>
                <a:gd name="T60" fmla="*/ 717964006 w 99"/>
                <a:gd name="T61" fmla="*/ 0 h 301"/>
                <a:gd name="T62" fmla="*/ 1005253227 w 99"/>
                <a:gd name="T63" fmla="*/ 0 h 301"/>
                <a:gd name="T64" fmla="*/ 1436100086 w 99"/>
                <a:gd name="T65" fmla="*/ 0 h 301"/>
                <a:gd name="T66" fmla="*/ 1866947361 w 99"/>
                <a:gd name="T67" fmla="*/ 0 h 301"/>
                <a:gd name="T68" fmla="*/ 2147483647 w 99"/>
                <a:gd name="T69" fmla="*/ 246873533 h 301"/>
                <a:gd name="T70" fmla="*/ 2147483647 w 99"/>
                <a:gd name="T71" fmla="*/ 493499132 h 301"/>
                <a:gd name="T72" fmla="*/ 2147483647 w 99"/>
                <a:gd name="T73" fmla="*/ 740372727 h 301"/>
                <a:gd name="T74" fmla="*/ 2147483647 w 99"/>
                <a:gd name="T75" fmla="*/ 1234119420 h 301"/>
                <a:gd name="T76" fmla="*/ 2147483647 w 99"/>
                <a:gd name="T77" fmla="*/ 1480745454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09" name="Freeform 26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989951" y="4278527"/>
              <a:ext cx="73151" cy="181968"/>
            </a:xfrm>
            <a:custGeom>
              <a:avLst/>
              <a:gdLst>
                <a:gd name="T0" fmla="*/ 0 w 173"/>
                <a:gd name="T1" fmla="*/ 2147483647 h 357"/>
                <a:gd name="T2" fmla="*/ 680482709 w 173"/>
                <a:gd name="T3" fmla="*/ 2147483647 h 357"/>
                <a:gd name="T4" fmla="*/ 1285157330 w 173"/>
                <a:gd name="T5" fmla="*/ 2147483647 h 357"/>
                <a:gd name="T6" fmla="*/ 1890010600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397247349 h 357"/>
                <a:gd name="T18" fmla="*/ 2147483647 w 173"/>
                <a:gd name="T19" fmla="*/ 926997430 h 357"/>
                <a:gd name="T20" fmla="*/ 2147483647 w 173"/>
                <a:gd name="T21" fmla="*/ 1589249351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16719422 w 173"/>
                <a:gd name="T107" fmla="*/ 2147483647 h 357"/>
                <a:gd name="T108" fmla="*/ 1512044590 w 173"/>
                <a:gd name="T109" fmla="*/ 2147483647 h 357"/>
                <a:gd name="T110" fmla="*/ 982819702 w 173"/>
                <a:gd name="T111" fmla="*/ 2147483647 h 357"/>
                <a:gd name="T112" fmla="*/ 529224676 w 173"/>
                <a:gd name="T113" fmla="*/ 2147483647 h 357"/>
                <a:gd name="T114" fmla="*/ 302337310 w 173"/>
                <a:gd name="T115" fmla="*/ 2147483647 h 357"/>
                <a:gd name="T116" fmla="*/ 226887366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0" name="Freeform 27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689458" y="5439150"/>
              <a:ext cx="24384" cy="58108"/>
            </a:xfrm>
            <a:custGeom>
              <a:avLst/>
              <a:gdLst>
                <a:gd name="T0" fmla="*/ 1159905073 w 50"/>
                <a:gd name="T1" fmla="*/ 0 h 74"/>
                <a:gd name="T2" fmla="*/ 695895983 w 50"/>
                <a:gd name="T3" fmla="*/ 2147483647 h 74"/>
                <a:gd name="T4" fmla="*/ 231885978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31885978 w 50"/>
                <a:gd name="T13" fmla="*/ 2147483647 h 74"/>
                <a:gd name="T14" fmla="*/ 695895983 w 50"/>
                <a:gd name="T15" fmla="*/ 2147483647 h 74"/>
                <a:gd name="T16" fmla="*/ 1159905073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1623914895 w 50"/>
                <a:gd name="T33" fmla="*/ 0 h 74"/>
                <a:gd name="T34" fmla="*/ 1159905073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1" name="Freeform 27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5588875" y="5532428"/>
              <a:ext cx="59435" cy="55049"/>
            </a:xfrm>
            <a:custGeom>
              <a:avLst/>
              <a:gdLst>
                <a:gd name="T0" fmla="*/ 256046855 w 135"/>
                <a:gd name="T1" fmla="*/ 2147483647 h 98"/>
                <a:gd name="T2" fmla="*/ 938710242 w 135"/>
                <a:gd name="T3" fmla="*/ 2147483647 h 98"/>
                <a:gd name="T4" fmla="*/ 1536088075 w 135"/>
                <a:gd name="T5" fmla="*/ 2147483647 h 98"/>
                <a:gd name="T6" fmla="*/ 2047987411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1418011805 h 98"/>
                <a:gd name="T18" fmla="*/ 2147483647 w 135"/>
                <a:gd name="T19" fmla="*/ 886336090 h 98"/>
                <a:gd name="T20" fmla="*/ 2147483647 w 135"/>
                <a:gd name="T21" fmla="*/ 354345388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531675575 h 98"/>
                <a:gd name="T30" fmla="*/ 2147483647 w 135"/>
                <a:gd name="T31" fmla="*/ 1063351150 h 98"/>
                <a:gd name="T32" fmla="*/ 2147483647 w 135"/>
                <a:gd name="T33" fmla="*/ 1949687239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1791941106 w 135"/>
                <a:gd name="T69" fmla="*/ 2147483647 h 98"/>
                <a:gd name="T70" fmla="*/ 938710242 w 135"/>
                <a:gd name="T71" fmla="*/ 2147483647 h 98"/>
                <a:gd name="T72" fmla="*/ 426615982 w 135"/>
                <a:gd name="T73" fmla="*/ 2147483647 h 98"/>
                <a:gd name="T74" fmla="*/ 85284371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56046855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2" name="Freeform 27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7717873" y="3330455"/>
              <a:ext cx="115822" cy="165148"/>
            </a:xfrm>
            <a:custGeom>
              <a:avLst/>
              <a:gdLst>
                <a:gd name="T0" fmla="*/ 2147483647 w 266"/>
                <a:gd name="T1" fmla="*/ 1169986515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1073087290 w 266"/>
                <a:gd name="T79" fmla="*/ 2147483647 h 326"/>
                <a:gd name="T80" fmla="*/ 330268132 w 266"/>
                <a:gd name="T81" fmla="*/ 2147483647 h 326"/>
                <a:gd name="T82" fmla="*/ 156848997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519937001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3" name="Freeform 27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26346" y="3729563"/>
              <a:ext cx="198117" cy="119274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892292842 h 237"/>
                <a:gd name="T4" fmla="*/ 2147483647 w 471"/>
                <a:gd name="T5" fmla="*/ 1656934354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893142752 w 471"/>
                <a:gd name="T73" fmla="*/ 2147483647 h 237"/>
                <a:gd name="T74" fmla="*/ 52088205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4" name="Freeform 27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033607" y="3783083"/>
              <a:ext cx="70103" cy="62695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1553325335 w 167"/>
                <a:gd name="T47" fmla="*/ 2147483647 h 123"/>
                <a:gd name="T48" fmla="*/ 0 w 167"/>
                <a:gd name="T49" fmla="*/ 2147483647 h 123"/>
                <a:gd name="T50" fmla="*/ 148019754 w 167"/>
                <a:gd name="T51" fmla="*/ 2147483647 h 123"/>
                <a:gd name="T52" fmla="*/ 369873053 w 167"/>
                <a:gd name="T53" fmla="*/ 2147483647 h 123"/>
                <a:gd name="T54" fmla="*/ 665736254 w 167"/>
                <a:gd name="T55" fmla="*/ 2147483647 h 123"/>
                <a:gd name="T56" fmla="*/ 1109618843 w 167"/>
                <a:gd name="T57" fmla="*/ 2147483647 h 123"/>
                <a:gd name="T58" fmla="*/ 1479492211 w 167"/>
                <a:gd name="T59" fmla="*/ 2147483647 h 123"/>
                <a:gd name="T60" fmla="*/ 1923198283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1589256180 h 123"/>
                <a:gd name="T72" fmla="*/ 2147483647 w 167"/>
                <a:gd name="T73" fmla="*/ 0 h 123"/>
                <a:gd name="T74" fmla="*/ 2147483647 w 167"/>
                <a:gd name="T75" fmla="*/ 529752357 h 123"/>
                <a:gd name="T76" fmla="*/ 2147483647 w 167"/>
                <a:gd name="T77" fmla="*/ 927001669 h 123"/>
                <a:gd name="T78" fmla="*/ 2147483647 w 167"/>
                <a:gd name="T79" fmla="*/ 1456753644 h 123"/>
                <a:gd name="T80" fmla="*/ 2147483647 w 167"/>
                <a:gd name="T81" fmla="*/ 1854002318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5" name="Freeform 27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024463" y="3851894"/>
              <a:ext cx="128014" cy="160561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27366416 h 321"/>
                <a:gd name="T40" fmla="*/ 2147483647 w 306"/>
                <a:gd name="T41" fmla="*/ 1501640429 h 321"/>
                <a:gd name="T42" fmla="*/ 2147483647 w 306"/>
                <a:gd name="T43" fmla="*/ 500630133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125095010 h 321"/>
                <a:gd name="T50" fmla="*/ 1610825875 w 306"/>
                <a:gd name="T51" fmla="*/ 625725236 h 321"/>
                <a:gd name="T52" fmla="*/ 732082281 w 306"/>
                <a:gd name="T53" fmla="*/ 1752080481 h 321"/>
                <a:gd name="T54" fmla="*/ 73155814 w 306"/>
                <a:gd name="T55" fmla="*/ 2147483647 h 321"/>
                <a:gd name="T56" fmla="*/ 146486498 w 306"/>
                <a:gd name="T57" fmla="*/ 2147483647 h 321"/>
                <a:gd name="T58" fmla="*/ 1098211169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1830468109 w 306"/>
                <a:gd name="T67" fmla="*/ 2147483647 h 321"/>
                <a:gd name="T68" fmla="*/ 1244697614 w 306"/>
                <a:gd name="T69" fmla="*/ 2147483647 h 321"/>
                <a:gd name="T70" fmla="*/ 1025054962 w 306"/>
                <a:gd name="T71" fmla="*/ 2147483647 h 321"/>
                <a:gd name="T72" fmla="*/ 1025054962 w 306"/>
                <a:gd name="T73" fmla="*/ 2147483647 h 321"/>
                <a:gd name="T74" fmla="*/ 1317852984 w 306"/>
                <a:gd name="T75" fmla="*/ 2147483647 h 321"/>
                <a:gd name="T76" fmla="*/ 2050109924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6" name="Freeform 27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329259" y="3963523"/>
              <a:ext cx="193545" cy="259955"/>
            </a:xfrm>
            <a:custGeom>
              <a:avLst/>
              <a:gdLst>
                <a:gd name="T0" fmla="*/ 2147483647 w 471"/>
                <a:gd name="T1" fmla="*/ 1516622423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1873481419 w 471"/>
                <a:gd name="T7" fmla="*/ 2147483647 h 518"/>
                <a:gd name="T8" fmla="*/ 555036989 w 471"/>
                <a:gd name="T9" fmla="*/ 2147483647 h 518"/>
                <a:gd name="T10" fmla="*/ 485636126 w 471"/>
                <a:gd name="T11" fmla="*/ 2147483647 h 518"/>
                <a:gd name="T12" fmla="*/ 208168318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1769476216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7" name="Freeform 27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408506" y="4205128"/>
              <a:ext cx="128014" cy="125390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1324251107 h 246"/>
                <a:gd name="T10" fmla="*/ 2147483647 w 293"/>
                <a:gd name="T11" fmla="*/ 794498622 h 246"/>
                <a:gd name="T12" fmla="*/ 2147483647 w 293"/>
                <a:gd name="T13" fmla="*/ 264746201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001656654 w 293"/>
                <a:gd name="T57" fmla="*/ 2147483647 h 246"/>
                <a:gd name="T58" fmla="*/ 667155169 w 293"/>
                <a:gd name="T59" fmla="*/ 2147483647 h 246"/>
                <a:gd name="T60" fmla="*/ 166836306 w 293"/>
                <a:gd name="T61" fmla="*/ 2147483647 h 246"/>
                <a:gd name="T62" fmla="*/ 0 w 293"/>
                <a:gd name="T63" fmla="*/ 2147483647 h 246"/>
                <a:gd name="T64" fmla="*/ 166836306 w 293"/>
                <a:gd name="T65" fmla="*/ 2147483647 h 246"/>
                <a:gd name="T66" fmla="*/ 667155169 w 293"/>
                <a:gd name="T67" fmla="*/ 2147483647 h 246"/>
                <a:gd name="T68" fmla="*/ 1417728245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1854002318 h 246"/>
                <a:gd name="T74" fmla="*/ 2147483647 w 293"/>
                <a:gd name="T75" fmla="*/ 1589256180 h 246"/>
                <a:gd name="T76" fmla="*/ 2147483647 w 293"/>
                <a:gd name="T77" fmla="*/ 1589256180 h 246"/>
                <a:gd name="T78" fmla="*/ 2147483647 w 293"/>
                <a:gd name="T79" fmla="*/ 158925618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8" name="Freeform 27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794072" y="3469607"/>
              <a:ext cx="82295" cy="125390"/>
            </a:xfrm>
            <a:custGeom>
              <a:avLst/>
              <a:gdLst>
                <a:gd name="T0" fmla="*/ 1254091065 w 200"/>
                <a:gd name="T1" fmla="*/ 2147483647 h 246"/>
                <a:gd name="T2" fmla="*/ 1950638613 w 200"/>
                <a:gd name="T3" fmla="*/ 2147483647 h 246"/>
                <a:gd name="T4" fmla="*/ 2147483647 w 200"/>
                <a:gd name="T5" fmla="*/ 2118748455 h 246"/>
                <a:gd name="T6" fmla="*/ 2147483647 w 200"/>
                <a:gd name="T7" fmla="*/ 1191747551 h 246"/>
                <a:gd name="T8" fmla="*/ 2147483647 w 200"/>
                <a:gd name="T9" fmla="*/ 132503078 h 246"/>
                <a:gd name="T10" fmla="*/ 2147483647 w 200"/>
                <a:gd name="T11" fmla="*/ 1589256180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1254091065 w 200"/>
                <a:gd name="T69" fmla="*/ 2147483647 h 246"/>
                <a:gd name="T70" fmla="*/ 418030595 w 200"/>
                <a:gd name="T71" fmla="*/ 2147483647 h 246"/>
                <a:gd name="T72" fmla="*/ 69587011 w 200"/>
                <a:gd name="T73" fmla="*/ 2147483647 h 246"/>
                <a:gd name="T74" fmla="*/ 69587011 w 200"/>
                <a:gd name="T75" fmla="*/ 2147483647 h 246"/>
                <a:gd name="T76" fmla="*/ 348274082 w 200"/>
                <a:gd name="T77" fmla="*/ 2147483647 h 246"/>
                <a:gd name="T78" fmla="*/ 696717693 w 200"/>
                <a:gd name="T79" fmla="*/ 2147483647 h 246"/>
                <a:gd name="T80" fmla="*/ 905648381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"/>
                <a:gd name="T124" fmla="*/ 0 h 246"/>
                <a:gd name="T125" fmla="*/ 200 w 200"/>
                <a:gd name="T126" fmla="*/ 246 h 2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19" name="Freeform 27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339657" y="4718922"/>
              <a:ext cx="222501" cy="244664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1414676845 w 538"/>
                <a:gd name="T85" fmla="*/ 2147483647 h 487"/>
                <a:gd name="T86" fmla="*/ 1414676845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0" name="Freeform 28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8524059" y="4703630"/>
              <a:ext cx="102106" cy="123860"/>
            </a:xfrm>
            <a:custGeom>
              <a:avLst/>
              <a:gdLst>
                <a:gd name="T0" fmla="*/ 2147483647 w 253"/>
                <a:gd name="T1" fmla="*/ 127514373 h 246"/>
                <a:gd name="T2" fmla="*/ 2147483647 w 253"/>
                <a:gd name="T3" fmla="*/ 1021131041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723013824 w 253"/>
                <a:gd name="T39" fmla="*/ 2147483647 h 246"/>
                <a:gd name="T40" fmla="*/ 197244984 w 253"/>
                <a:gd name="T41" fmla="*/ 2147483647 h 246"/>
                <a:gd name="T42" fmla="*/ 657374211 w 253"/>
                <a:gd name="T43" fmla="*/ 2147483647 h 246"/>
                <a:gd name="T44" fmla="*/ 1446190695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1403928080 h 246"/>
                <a:gd name="T102" fmla="*/ 2147483647 w 253"/>
                <a:gd name="T103" fmla="*/ 1531696184 h 246"/>
                <a:gd name="T104" fmla="*/ 2147483647 w 253"/>
                <a:gd name="T105" fmla="*/ 2147483647 h 246"/>
                <a:gd name="T106" fmla="*/ 2147483647 w 253"/>
                <a:gd name="T107" fmla="*/ 638079988 h 246"/>
                <a:gd name="T108" fmla="*/ 2147483647 w 253"/>
                <a:gd name="T109" fmla="*/ 127514373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1" name="Freeform 28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869017" y="4350397"/>
              <a:ext cx="60959" cy="114687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1777720607 w 141"/>
                <a:gd name="T7" fmla="*/ 2147483647 h 228"/>
                <a:gd name="T8" fmla="*/ 1292871089 w 141"/>
                <a:gd name="T9" fmla="*/ 2147483647 h 228"/>
                <a:gd name="T10" fmla="*/ 808020923 w 141"/>
                <a:gd name="T11" fmla="*/ 2147483647 h 228"/>
                <a:gd name="T12" fmla="*/ 404104061 w 141"/>
                <a:gd name="T13" fmla="*/ 2147483647 h 228"/>
                <a:gd name="T14" fmla="*/ 161678816 w 141"/>
                <a:gd name="T15" fmla="*/ 2147483647 h 228"/>
                <a:gd name="T16" fmla="*/ 0 w 141"/>
                <a:gd name="T17" fmla="*/ 2147483647 h 228"/>
                <a:gd name="T18" fmla="*/ 161678816 w 141"/>
                <a:gd name="T19" fmla="*/ 2147483647 h 228"/>
                <a:gd name="T20" fmla="*/ 323170864 w 141"/>
                <a:gd name="T21" fmla="*/ 2147483647 h 228"/>
                <a:gd name="T22" fmla="*/ 484850167 w 141"/>
                <a:gd name="T23" fmla="*/ 2147483647 h 228"/>
                <a:gd name="T24" fmla="*/ 727274926 w 141"/>
                <a:gd name="T25" fmla="*/ 2147483647 h 228"/>
                <a:gd name="T26" fmla="*/ 1454549851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036322974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322" name="Group 282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7771217" y="4072140"/>
              <a:ext cx="224025" cy="423580"/>
              <a:chOff x="5062" y="2295"/>
              <a:chExt cx="177" cy="279"/>
            </a:xfrm>
          </p:grpSpPr>
          <p:sp>
            <p:nvSpPr>
              <p:cNvPr id="4520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 w 60"/>
                  <a:gd name="T1" fmla="*/ 4 h 110"/>
                  <a:gd name="T2" fmla="*/ 1 w 60"/>
                  <a:gd name="T3" fmla="*/ 4 h 110"/>
                  <a:gd name="T4" fmla="*/ 2 w 60"/>
                  <a:gd name="T5" fmla="*/ 4 h 110"/>
                  <a:gd name="T6" fmla="*/ 2 w 60"/>
                  <a:gd name="T7" fmla="*/ 4 h 110"/>
                  <a:gd name="T8" fmla="*/ 2 w 60"/>
                  <a:gd name="T9" fmla="*/ 4 h 110"/>
                  <a:gd name="T10" fmla="*/ 2 w 60"/>
                  <a:gd name="T11" fmla="*/ 3 h 110"/>
                  <a:gd name="T12" fmla="*/ 2 w 60"/>
                  <a:gd name="T13" fmla="*/ 3 h 110"/>
                  <a:gd name="T14" fmla="*/ 2 w 60"/>
                  <a:gd name="T15" fmla="*/ 3 h 110"/>
                  <a:gd name="T16" fmla="*/ 2 w 60"/>
                  <a:gd name="T17" fmla="*/ 3 h 110"/>
                  <a:gd name="T18" fmla="*/ 2 w 60"/>
                  <a:gd name="T19" fmla="*/ 2 h 110"/>
                  <a:gd name="T20" fmla="*/ 2 w 60"/>
                  <a:gd name="T21" fmla="*/ 2 h 110"/>
                  <a:gd name="T22" fmla="*/ 2 w 60"/>
                  <a:gd name="T23" fmla="*/ 1 h 110"/>
                  <a:gd name="T24" fmla="*/ 2 w 60"/>
                  <a:gd name="T25" fmla="*/ 1 h 110"/>
                  <a:gd name="T26" fmla="*/ 2 w 60"/>
                  <a:gd name="T27" fmla="*/ 1 h 110"/>
                  <a:gd name="T28" fmla="*/ 2 w 60"/>
                  <a:gd name="T29" fmla="*/ 0 h 110"/>
                  <a:gd name="T30" fmla="*/ 1 w 60"/>
                  <a:gd name="T31" fmla="*/ 0 h 110"/>
                  <a:gd name="T32" fmla="*/ 1 w 60"/>
                  <a:gd name="T33" fmla="*/ 0 h 110"/>
                  <a:gd name="T34" fmla="*/ 1 w 60"/>
                  <a:gd name="T35" fmla="*/ 0 h 110"/>
                  <a:gd name="T36" fmla="*/ 1 w 60"/>
                  <a:gd name="T37" fmla="*/ 0 h 110"/>
                  <a:gd name="T38" fmla="*/ 1 w 60"/>
                  <a:gd name="T39" fmla="*/ 0 h 110"/>
                  <a:gd name="T40" fmla="*/ 1 w 60"/>
                  <a:gd name="T41" fmla="*/ 1 h 110"/>
                  <a:gd name="T42" fmla="*/ 1 w 60"/>
                  <a:gd name="T43" fmla="*/ 1 h 110"/>
                  <a:gd name="T44" fmla="*/ 1 w 60"/>
                  <a:gd name="T45" fmla="*/ 1 h 110"/>
                  <a:gd name="T46" fmla="*/ 0 w 60"/>
                  <a:gd name="T47" fmla="*/ 2 h 110"/>
                  <a:gd name="T48" fmla="*/ 0 w 60"/>
                  <a:gd name="T49" fmla="*/ 2 h 110"/>
                  <a:gd name="T50" fmla="*/ 0 w 60"/>
                  <a:gd name="T51" fmla="*/ 2 h 110"/>
                  <a:gd name="T52" fmla="*/ 0 w 60"/>
                  <a:gd name="T53" fmla="*/ 3 h 110"/>
                  <a:gd name="T54" fmla="*/ 0 w 60"/>
                  <a:gd name="T55" fmla="*/ 3 h 110"/>
                  <a:gd name="T56" fmla="*/ 0 w 60"/>
                  <a:gd name="T57" fmla="*/ 3 h 110"/>
                  <a:gd name="T58" fmla="*/ 0 w 60"/>
                  <a:gd name="T59" fmla="*/ 3 h 110"/>
                  <a:gd name="T60" fmla="*/ 0 w 60"/>
                  <a:gd name="T61" fmla="*/ 3 h 110"/>
                  <a:gd name="T62" fmla="*/ 0 w 60"/>
                  <a:gd name="T63" fmla="*/ 3 h 110"/>
                  <a:gd name="T64" fmla="*/ 0 w 60"/>
                  <a:gd name="T65" fmla="*/ 4 h 110"/>
                  <a:gd name="T66" fmla="*/ 1 w 60"/>
                  <a:gd name="T67" fmla="*/ 4 h 110"/>
                  <a:gd name="T68" fmla="*/ 1 w 60"/>
                  <a:gd name="T69" fmla="*/ 4 h 110"/>
                  <a:gd name="T70" fmla="*/ 1 w 60"/>
                  <a:gd name="T71" fmla="*/ 4 h 110"/>
                  <a:gd name="T72" fmla="*/ 1 w 60"/>
                  <a:gd name="T73" fmla="*/ 4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0"/>
                  <a:gd name="T112" fmla="*/ 0 h 110"/>
                  <a:gd name="T113" fmla="*/ 60 w 60"/>
                  <a:gd name="T114" fmla="*/ 110 h 11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1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1 h 75"/>
                  <a:gd name="T4" fmla="*/ 1 w 72"/>
                  <a:gd name="T5" fmla="*/ 1 h 75"/>
                  <a:gd name="T6" fmla="*/ 1 w 72"/>
                  <a:gd name="T7" fmla="*/ 1 h 75"/>
                  <a:gd name="T8" fmla="*/ 1 w 72"/>
                  <a:gd name="T9" fmla="*/ 1 h 75"/>
                  <a:gd name="T10" fmla="*/ 1 w 72"/>
                  <a:gd name="T11" fmla="*/ 2 h 75"/>
                  <a:gd name="T12" fmla="*/ 2 w 72"/>
                  <a:gd name="T13" fmla="*/ 2 h 75"/>
                  <a:gd name="T14" fmla="*/ 2 w 72"/>
                  <a:gd name="T15" fmla="*/ 2 h 75"/>
                  <a:gd name="T16" fmla="*/ 2 w 72"/>
                  <a:gd name="T17" fmla="*/ 3 h 75"/>
                  <a:gd name="T18" fmla="*/ 3 w 72"/>
                  <a:gd name="T19" fmla="*/ 3 h 75"/>
                  <a:gd name="T20" fmla="*/ 2 w 72"/>
                  <a:gd name="T21" fmla="*/ 2 h 75"/>
                  <a:gd name="T22" fmla="*/ 2 w 72"/>
                  <a:gd name="T23" fmla="*/ 1 h 75"/>
                  <a:gd name="T24" fmla="*/ 2 w 72"/>
                  <a:gd name="T25" fmla="*/ 1 h 75"/>
                  <a:gd name="T26" fmla="*/ 2 w 72"/>
                  <a:gd name="T27" fmla="*/ 1 h 75"/>
                  <a:gd name="T28" fmla="*/ 2 w 72"/>
                  <a:gd name="T29" fmla="*/ 0 h 75"/>
                  <a:gd name="T30" fmla="*/ 3 w 72"/>
                  <a:gd name="T31" fmla="*/ 0 h 75"/>
                  <a:gd name="T32" fmla="*/ 2 w 72"/>
                  <a:gd name="T33" fmla="*/ 0 h 75"/>
                  <a:gd name="T34" fmla="*/ 1 w 72"/>
                  <a:gd name="T35" fmla="*/ 0 h 75"/>
                  <a:gd name="T36" fmla="*/ 1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72"/>
                  <a:gd name="T73" fmla="*/ 0 h 75"/>
                  <a:gd name="T74" fmla="*/ 72 w 72"/>
                  <a:gd name="T75" fmla="*/ 75 h 7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2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 w 15"/>
                  <a:gd name="T1" fmla="*/ 2 h 49"/>
                  <a:gd name="T2" fmla="*/ 1 w 15"/>
                  <a:gd name="T3" fmla="*/ 1 h 49"/>
                  <a:gd name="T4" fmla="*/ 1 w 15"/>
                  <a:gd name="T5" fmla="*/ 1 h 49"/>
                  <a:gd name="T6" fmla="*/ 1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1 h 49"/>
                  <a:gd name="T18" fmla="*/ 0 w 15"/>
                  <a:gd name="T19" fmla="*/ 1 h 49"/>
                  <a:gd name="T20" fmla="*/ 0 w 15"/>
                  <a:gd name="T21" fmla="*/ 1 h 49"/>
                  <a:gd name="T22" fmla="*/ 0 w 15"/>
                  <a:gd name="T23" fmla="*/ 1 h 49"/>
                  <a:gd name="T24" fmla="*/ 0 w 15"/>
                  <a:gd name="T25" fmla="*/ 2 h 49"/>
                  <a:gd name="T26" fmla="*/ 0 w 15"/>
                  <a:gd name="T27" fmla="*/ 2 h 49"/>
                  <a:gd name="T28" fmla="*/ 0 w 15"/>
                  <a:gd name="T29" fmla="*/ 2 h 49"/>
                  <a:gd name="T30" fmla="*/ 0 w 15"/>
                  <a:gd name="T31" fmla="*/ 2 h 49"/>
                  <a:gd name="T32" fmla="*/ 1 w 15"/>
                  <a:gd name="T33" fmla="*/ 2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5"/>
                  <a:gd name="T52" fmla="*/ 0 h 49"/>
                  <a:gd name="T53" fmla="*/ 15 w 15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3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1 w 47"/>
                  <a:gd name="T1" fmla="*/ 0 h 40"/>
                  <a:gd name="T2" fmla="*/ 0 w 47"/>
                  <a:gd name="T3" fmla="*/ 1 h 40"/>
                  <a:gd name="T4" fmla="*/ 0 w 47"/>
                  <a:gd name="T5" fmla="*/ 1 h 40"/>
                  <a:gd name="T6" fmla="*/ 0 w 47"/>
                  <a:gd name="T7" fmla="*/ 1 h 40"/>
                  <a:gd name="T8" fmla="*/ 1 w 47"/>
                  <a:gd name="T9" fmla="*/ 1 h 40"/>
                  <a:gd name="T10" fmla="*/ 1 w 47"/>
                  <a:gd name="T11" fmla="*/ 1 h 40"/>
                  <a:gd name="T12" fmla="*/ 1 w 47"/>
                  <a:gd name="T13" fmla="*/ 1 h 40"/>
                  <a:gd name="T14" fmla="*/ 1 w 47"/>
                  <a:gd name="T15" fmla="*/ 1 h 40"/>
                  <a:gd name="T16" fmla="*/ 1 w 47"/>
                  <a:gd name="T17" fmla="*/ 1 h 40"/>
                  <a:gd name="T18" fmla="*/ 2 w 47"/>
                  <a:gd name="T19" fmla="*/ 1 h 40"/>
                  <a:gd name="T20" fmla="*/ 2 w 47"/>
                  <a:gd name="T21" fmla="*/ 0 h 40"/>
                  <a:gd name="T22" fmla="*/ 1 w 47"/>
                  <a:gd name="T23" fmla="*/ 0 h 40"/>
                  <a:gd name="T24" fmla="*/ 1 w 47"/>
                  <a:gd name="T25" fmla="*/ 0 h 40"/>
                  <a:gd name="T26" fmla="*/ 1 w 47"/>
                  <a:gd name="T27" fmla="*/ 0 h 40"/>
                  <a:gd name="T28" fmla="*/ 1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40"/>
                  <a:gd name="T47" fmla="*/ 47 w 47"/>
                  <a:gd name="T48" fmla="*/ 40 h 4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4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1 h 31"/>
                  <a:gd name="T8" fmla="*/ 1 w 39"/>
                  <a:gd name="T9" fmla="*/ 1 h 31"/>
                  <a:gd name="T10" fmla="*/ 1 w 39"/>
                  <a:gd name="T11" fmla="*/ 1 h 31"/>
                  <a:gd name="T12" fmla="*/ 1 w 39"/>
                  <a:gd name="T13" fmla="*/ 1 h 31"/>
                  <a:gd name="T14" fmla="*/ 1 w 39"/>
                  <a:gd name="T15" fmla="*/ 1 h 31"/>
                  <a:gd name="T16" fmla="*/ 1 w 39"/>
                  <a:gd name="T17" fmla="*/ 1 h 31"/>
                  <a:gd name="T18" fmla="*/ 1 w 39"/>
                  <a:gd name="T19" fmla="*/ 1 h 31"/>
                  <a:gd name="T20" fmla="*/ 1 w 39"/>
                  <a:gd name="T21" fmla="*/ 1 h 31"/>
                  <a:gd name="T22" fmla="*/ 1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9"/>
                  <a:gd name="T40" fmla="*/ 0 h 31"/>
                  <a:gd name="T41" fmla="*/ 39 w 39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5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 w 34"/>
                  <a:gd name="T3" fmla="*/ 1 h 19"/>
                  <a:gd name="T4" fmla="*/ 1 w 34"/>
                  <a:gd name="T5" fmla="*/ 0 h 19"/>
                  <a:gd name="T6" fmla="*/ 1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9"/>
                  <a:gd name="T23" fmla="*/ 34 w 3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6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2"/>
                  <a:gd name="T14" fmla="*/ 19 w 19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7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4 w 126"/>
                  <a:gd name="T1" fmla="*/ 0 h 166"/>
                  <a:gd name="T2" fmla="*/ 4 w 126"/>
                  <a:gd name="T3" fmla="*/ 0 h 166"/>
                  <a:gd name="T4" fmla="*/ 4 w 126"/>
                  <a:gd name="T5" fmla="*/ 0 h 166"/>
                  <a:gd name="T6" fmla="*/ 5 w 126"/>
                  <a:gd name="T7" fmla="*/ 0 h 166"/>
                  <a:gd name="T8" fmla="*/ 5 w 126"/>
                  <a:gd name="T9" fmla="*/ 1 h 166"/>
                  <a:gd name="T10" fmla="*/ 5 w 126"/>
                  <a:gd name="T11" fmla="*/ 1 h 166"/>
                  <a:gd name="T12" fmla="*/ 5 w 126"/>
                  <a:gd name="T13" fmla="*/ 1 h 166"/>
                  <a:gd name="T14" fmla="*/ 5 w 126"/>
                  <a:gd name="T15" fmla="*/ 1 h 166"/>
                  <a:gd name="T16" fmla="*/ 4 w 126"/>
                  <a:gd name="T17" fmla="*/ 2 h 166"/>
                  <a:gd name="T18" fmla="*/ 4 w 126"/>
                  <a:gd name="T19" fmla="*/ 2 h 166"/>
                  <a:gd name="T20" fmla="*/ 4 w 126"/>
                  <a:gd name="T21" fmla="*/ 2 h 166"/>
                  <a:gd name="T22" fmla="*/ 3 w 126"/>
                  <a:gd name="T23" fmla="*/ 3 h 166"/>
                  <a:gd name="T24" fmla="*/ 3 w 126"/>
                  <a:gd name="T25" fmla="*/ 4 h 166"/>
                  <a:gd name="T26" fmla="*/ 2 w 126"/>
                  <a:gd name="T27" fmla="*/ 5 h 166"/>
                  <a:gd name="T28" fmla="*/ 1 w 126"/>
                  <a:gd name="T29" fmla="*/ 5 h 166"/>
                  <a:gd name="T30" fmla="*/ 1 w 126"/>
                  <a:gd name="T31" fmla="*/ 6 h 166"/>
                  <a:gd name="T32" fmla="*/ 1 w 126"/>
                  <a:gd name="T33" fmla="*/ 6 h 166"/>
                  <a:gd name="T34" fmla="*/ 0 w 126"/>
                  <a:gd name="T35" fmla="*/ 6 h 166"/>
                  <a:gd name="T36" fmla="*/ 0 w 126"/>
                  <a:gd name="T37" fmla="*/ 6 h 166"/>
                  <a:gd name="T38" fmla="*/ 0 w 126"/>
                  <a:gd name="T39" fmla="*/ 6 h 166"/>
                  <a:gd name="T40" fmla="*/ 0 w 126"/>
                  <a:gd name="T41" fmla="*/ 6 h 166"/>
                  <a:gd name="T42" fmla="*/ 0 w 126"/>
                  <a:gd name="T43" fmla="*/ 5 h 166"/>
                  <a:gd name="T44" fmla="*/ 0 w 126"/>
                  <a:gd name="T45" fmla="*/ 5 h 166"/>
                  <a:gd name="T46" fmla="*/ 0 w 126"/>
                  <a:gd name="T47" fmla="*/ 5 h 166"/>
                  <a:gd name="T48" fmla="*/ 0 w 126"/>
                  <a:gd name="T49" fmla="*/ 5 h 166"/>
                  <a:gd name="T50" fmla="*/ 0 w 126"/>
                  <a:gd name="T51" fmla="*/ 5 h 166"/>
                  <a:gd name="T52" fmla="*/ 1 w 126"/>
                  <a:gd name="T53" fmla="*/ 4 h 166"/>
                  <a:gd name="T54" fmla="*/ 1 w 126"/>
                  <a:gd name="T55" fmla="*/ 4 h 166"/>
                  <a:gd name="T56" fmla="*/ 1 w 126"/>
                  <a:gd name="T57" fmla="*/ 4 h 166"/>
                  <a:gd name="T58" fmla="*/ 1 w 126"/>
                  <a:gd name="T59" fmla="*/ 4 h 166"/>
                  <a:gd name="T60" fmla="*/ 2 w 126"/>
                  <a:gd name="T61" fmla="*/ 4 h 166"/>
                  <a:gd name="T62" fmla="*/ 2 w 126"/>
                  <a:gd name="T63" fmla="*/ 3 h 166"/>
                  <a:gd name="T64" fmla="*/ 2 w 126"/>
                  <a:gd name="T65" fmla="*/ 3 h 166"/>
                  <a:gd name="T66" fmla="*/ 2 w 126"/>
                  <a:gd name="T67" fmla="*/ 2 h 166"/>
                  <a:gd name="T68" fmla="*/ 3 w 126"/>
                  <a:gd name="T69" fmla="*/ 2 h 166"/>
                  <a:gd name="T70" fmla="*/ 3 w 126"/>
                  <a:gd name="T71" fmla="*/ 1 h 166"/>
                  <a:gd name="T72" fmla="*/ 3 w 126"/>
                  <a:gd name="T73" fmla="*/ 1 h 166"/>
                  <a:gd name="T74" fmla="*/ 3 w 126"/>
                  <a:gd name="T75" fmla="*/ 1 h 166"/>
                  <a:gd name="T76" fmla="*/ 4 w 126"/>
                  <a:gd name="T77" fmla="*/ 0 h 166"/>
                  <a:gd name="T78" fmla="*/ 4 w 126"/>
                  <a:gd name="T79" fmla="*/ 0 h 166"/>
                  <a:gd name="T80" fmla="*/ 4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6"/>
                  <a:gd name="T124" fmla="*/ 0 h 166"/>
                  <a:gd name="T125" fmla="*/ 126 w 126"/>
                  <a:gd name="T126" fmla="*/ 166 h 16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8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7 h 259"/>
                  <a:gd name="T2" fmla="*/ 0 w 259"/>
                  <a:gd name="T3" fmla="*/ 6 h 259"/>
                  <a:gd name="T4" fmla="*/ 0 w 259"/>
                  <a:gd name="T5" fmla="*/ 5 h 259"/>
                  <a:gd name="T6" fmla="*/ 0 w 259"/>
                  <a:gd name="T7" fmla="*/ 5 h 259"/>
                  <a:gd name="T8" fmla="*/ 1 w 259"/>
                  <a:gd name="T9" fmla="*/ 5 h 259"/>
                  <a:gd name="T10" fmla="*/ 1 w 259"/>
                  <a:gd name="T11" fmla="*/ 4 h 259"/>
                  <a:gd name="T12" fmla="*/ 2 w 259"/>
                  <a:gd name="T13" fmla="*/ 4 h 259"/>
                  <a:gd name="T14" fmla="*/ 2 w 259"/>
                  <a:gd name="T15" fmla="*/ 3 h 259"/>
                  <a:gd name="T16" fmla="*/ 2 w 259"/>
                  <a:gd name="T17" fmla="*/ 3 h 259"/>
                  <a:gd name="T18" fmla="*/ 3 w 259"/>
                  <a:gd name="T19" fmla="*/ 3 h 259"/>
                  <a:gd name="T20" fmla="*/ 3 w 259"/>
                  <a:gd name="T21" fmla="*/ 3 h 259"/>
                  <a:gd name="T22" fmla="*/ 4 w 259"/>
                  <a:gd name="T23" fmla="*/ 4 h 259"/>
                  <a:gd name="T24" fmla="*/ 4 w 259"/>
                  <a:gd name="T25" fmla="*/ 4 h 259"/>
                  <a:gd name="T26" fmla="*/ 4 w 259"/>
                  <a:gd name="T27" fmla="*/ 4 h 259"/>
                  <a:gd name="T28" fmla="*/ 5 w 259"/>
                  <a:gd name="T29" fmla="*/ 4 h 259"/>
                  <a:gd name="T30" fmla="*/ 5 w 259"/>
                  <a:gd name="T31" fmla="*/ 3 h 259"/>
                  <a:gd name="T32" fmla="*/ 6 w 259"/>
                  <a:gd name="T33" fmla="*/ 3 h 259"/>
                  <a:gd name="T34" fmla="*/ 6 w 259"/>
                  <a:gd name="T35" fmla="*/ 2 h 259"/>
                  <a:gd name="T36" fmla="*/ 7 w 259"/>
                  <a:gd name="T37" fmla="*/ 1 h 259"/>
                  <a:gd name="T38" fmla="*/ 7 w 259"/>
                  <a:gd name="T39" fmla="*/ 0 h 259"/>
                  <a:gd name="T40" fmla="*/ 7 w 259"/>
                  <a:gd name="T41" fmla="*/ 0 h 259"/>
                  <a:gd name="T42" fmla="*/ 8 w 259"/>
                  <a:gd name="T43" fmla="*/ 1 h 259"/>
                  <a:gd name="T44" fmla="*/ 8 w 259"/>
                  <a:gd name="T45" fmla="*/ 1 h 259"/>
                  <a:gd name="T46" fmla="*/ 8 w 259"/>
                  <a:gd name="T47" fmla="*/ 2 h 259"/>
                  <a:gd name="T48" fmla="*/ 8 w 259"/>
                  <a:gd name="T49" fmla="*/ 2 h 259"/>
                  <a:gd name="T50" fmla="*/ 8 w 259"/>
                  <a:gd name="T51" fmla="*/ 3 h 259"/>
                  <a:gd name="T52" fmla="*/ 8 w 259"/>
                  <a:gd name="T53" fmla="*/ 3 h 259"/>
                  <a:gd name="T54" fmla="*/ 8 w 259"/>
                  <a:gd name="T55" fmla="*/ 4 h 259"/>
                  <a:gd name="T56" fmla="*/ 9 w 259"/>
                  <a:gd name="T57" fmla="*/ 4 h 259"/>
                  <a:gd name="T58" fmla="*/ 9 w 259"/>
                  <a:gd name="T59" fmla="*/ 4 h 259"/>
                  <a:gd name="T60" fmla="*/ 9 w 259"/>
                  <a:gd name="T61" fmla="*/ 5 h 259"/>
                  <a:gd name="T62" fmla="*/ 9 w 259"/>
                  <a:gd name="T63" fmla="*/ 6 h 259"/>
                  <a:gd name="T64" fmla="*/ 9 w 259"/>
                  <a:gd name="T65" fmla="*/ 9 h 259"/>
                  <a:gd name="T66" fmla="*/ 9 w 259"/>
                  <a:gd name="T67" fmla="*/ 8 h 259"/>
                  <a:gd name="T68" fmla="*/ 9 w 259"/>
                  <a:gd name="T69" fmla="*/ 8 h 259"/>
                  <a:gd name="T70" fmla="*/ 9 w 259"/>
                  <a:gd name="T71" fmla="*/ 7 h 259"/>
                  <a:gd name="T72" fmla="*/ 8 w 259"/>
                  <a:gd name="T73" fmla="*/ 7 h 259"/>
                  <a:gd name="T74" fmla="*/ 7 w 259"/>
                  <a:gd name="T75" fmla="*/ 7 h 259"/>
                  <a:gd name="T76" fmla="*/ 7 w 259"/>
                  <a:gd name="T77" fmla="*/ 7 h 259"/>
                  <a:gd name="T78" fmla="*/ 7 w 259"/>
                  <a:gd name="T79" fmla="*/ 8 h 259"/>
                  <a:gd name="T80" fmla="*/ 7 w 259"/>
                  <a:gd name="T81" fmla="*/ 10 h 259"/>
                  <a:gd name="T82" fmla="*/ 4 w 259"/>
                  <a:gd name="T83" fmla="*/ 9 h 259"/>
                  <a:gd name="T84" fmla="*/ 4 w 259"/>
                  <a:gd name="T85" fmla="*/ 8 h 259"/>
                  <a:gd name="T86" fmla="*/ 4 w 259"/>
                  <a:gd name="T87" fmla="*/ 8 h 259"/>
                  <a:gd name="T88" fmla="*/ 4 w 259"/>
                  <a:gd name="T89" fmla="*/ 7 h 259"/>
                  <a:gd name="T90" fmla="*/ 4 w 259"/>
                  <a:gd name="T91" fmla="*/ 7 h 259"/>
                  <a:gd name="T92" fmla="*/ 4 w 259"/>
                  <a:gd name="T93" fmla="*/ 7 h 259"/>
                  <a:gd name="T94" fmla="*/ 4 w 259"/>
                  <a:gd name="T95" fmla="*/ 6 h 259"/>
                  <a:gd name="T96" fmla="*/ 3 w 259"/>
                  <a:gd name="T97" fmla="*/ 6 h 259"/>
                  <a:gd name="T98" fmla="*/ 1 w 259"/>
                  <a:gd name="T99" fmla="*/ 6 h 259"/>
                  <a:gd name="T100" fmla="*/ 1 w 259"/>
                  <a:gd name="T101" fmla="*/ 6 h 259"/>
                  <a:gd name="T102" fmla="*/ 1 w 259"/>
                  <a:gd name="T103" fmla="*/ 6 h 259"/>
                  <a:gd name="T104" fmla="*/ 0 w 259"/>
                  <a:gd name="T105" fmla="*/ 7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9"/>
                  <a:gd name="T160" fmla="*/ 0 h 259"/>
                  <a:gd name="T161" fmla="*/ 259 w 259"/>
                  <a:gd name="T162" fmla="*/ 259 h 25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9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 w 72"/>
                  <a:gd name="T1" fmla="*/ 2 h 92"/>
                  <a:gd name="T2" fmla="*/ 2 w 72"/>
                  <a:gd name="T3" fmla="*/ 3 h 92"/>
                  <a:gd name="T4" fmla="*/ 2 w 72"/>
                  <a:gd name="T5" fmla="*/ 3 h 92"/>
                  <a:gd name="T6" fmla="*/ 2 w 72"/>
                  <a:gd name="T7" fmla="*/ 3 h 92"/>
                  <a:gd name="T8" fmla="*/ 2 w 72"/>
                  <a:gd name="T9" fmla="*/ 3 h 92"/>
                  <a:gd name="T10" fmla="*/ 2 w 72"/>
                  <a:gd name="T11" fmla="*/ 3 h 92"/>
                  <a:gd name="T12" fmla="*/ 1 w 72"/>
                  <a:gd name="T13" fmla="*/ 2 h 92"/>
                  <a:gd name="T14" fmla="*/ 1 w 72"/>
                  <a:gd name="T15" fmla="*/ 2 h 92"/>
                  <a:gd name="T16" fmla="*/ 1 w 72"/>
                  <a:gd name="T17" fmla="*/ 1 h 92"/>
                  <a:gd name="T18" fmla="*/ 1 w 72"/>
                  <a:gd name="T19" fmla="*/ 1 h 92"/>
                  <a:gd name="T20" fmla="*/ 0 w 72"/>
                  <a:gd name="T21" fmla="*/ 0 h 92"/>
                  <a:gd name="T22" fmla="*/ 0 w 72"/>
                  <a:gd name="T23" fmla="*/ 0 h 92"/>
                  <a:gd name="T24" fmla="*/ 1 w 72"/>
                  <a:gd name="T25" fmla="*/ 0 h 92"/>
                  <a:gd name="T26" fmla="*/ 1 w 72"/>
                  <a:gd name="T27" fmla="*/ 1 h 92"/>
                  <a:gd name="T28" fmla="*/ 2 w 72"/>
                  <a:gd name="T29" fmla="*/ 1 h 92"/>
                  <a:gd name="T30" fmla="*/ 2 w 72"/>
                  <a:gd name="T31" fmla="*/ 1 h 92"/>
                  <a:gd name="T32" fmla="*/ 2 w 72"/>
                  <a:gd name="T33" fmla="*/ 1 h 92"/>
                  <a:gd name="T34" fmla="*/ 2 w 72"/>
                  <a:gd name="T35" fmla="*/ 2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2"/>
                  <a:gd name="T55" fmla="*/ 0 h 92"/>
                  <a:gd name="T56" fmla="*/ 72 w 72"/>
                  <a:gd name="T57" fmla="*/ 92 h 9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0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1 w 46"/>
                  <a:gd name="T3" fmla="*/ 0 h 62"/>
                  <a:gd name="T4" fmla="*/ 1 w 46"/>
                  <a:gd name="T5" fmla="*/ 0 h 62"/>
                  <a:gd name="T6" fmla="*/ 2 w 46"/>
                  <a:gd name="T7" fmla="*/ 0 h 62"/>
                  <a:gd name="T8" fmla="*/ 2 w 46"/>
                  <a:gd name="T9" fmla="*/ 0 h 62"/>
                  <a:gd name="T10" fmla="*/ 2 w 46"/>
                  <a:gd name="T11" fmla="*/ 0 h 62"/>
                  <a:gd name="T12" fmla="*/ 2 w 46"/>
                  <a:gd name="T13" fmla="*/ 1 h 62"/>
                  <a:gd name="T14" fmla="*/ 2 w 46"/>
                  <a:gd name="T15" fmla="*/ 1 h 62"/>
                  <a:gd name="T16" fmla="*/ 2 w 46"/>
                  <a:gd name="T17" fmla="*/ 1 h 62"/>
                  <a:gd name="T18" fmla="*/ 2 w 46"/>
                  <a:gd name="T19" fmla="*/ 2 h 62"/>
                  <a:gd name="T20" fmla="*/ 2 w 46"/>
                  <a:gd name="T21" fmla="*/ 2 h 62"/>
                  <a:gd name="T22" fmla="*/ 2 w 46"/>
                  <a:gd name="T23" fmla="*/ 2 h 62"/>
                  <a:gd name="T24" fmla="*/ 2 w 46"/>
                  <a:gd name="T25" fmla="*/ 2 h 62"/>
                  <a:gd name="T26" fmla="*/ 1 w 46"/>
                  <a:gd name="T27" fmla="*/ 2 h 62"/>
                  <a:gd name="T28" fmla="*/ 1 w 46"/>
                  <a:gd name="T29" fmla="*/ 2 h 62"/>
                  <a:gd name="T30" fmla="*/ 1 w 46"/>
                  <a:gd name="T31" fmla="*/ 2 h 62"/>
                  <a:gd name="T32" fmla="*/ 1 w 46"/>
                  <a:gd name="T33" fmla="*/ 2 h 62"/>
                  <a:gd name="T34" fmla="*/ 1 w 46"/>
                  <a:gd name="T35" fmla="*/ 2 h 62"/>
                  <a:gd name="T36" fmla="*/ 1 w 46"/>
                  <a:gd name="T37" fmla="*/ 2 h 62"/>
                  <a:gd name="T38" fmla="*/ 0 w 46"/>
                  <a:gd name="T39" fmla="*/ 2 h 62"/>
                  <a:gd name="T40" fmla="*/ 0 w 46"/>
                  <a:gd name="T41" fmla="*/ 2 h 62"/>
                  <a:gd name="T42" fmla="*/ 0 w 46"/>
                  <a:gd name="T43" fmla="*/ 2 h 62"/>
                  <a:gd name="T44" fmla="*/ 0 w 46"/>
                  <a:gd name="T45" fmla="*/ 2 h 62"/>
                  <a:gd name="T46" fmla="*/ 0 w 46"/>
                  <a:gd name="T47" fmla="*/ 1 h 62"/>
                  <a:gd name="T48" fmla="*/ 0 w 46"/>
                  <a:gd name="T49" fmla="*/ 1 h 62"/>
                  <a:gd name="T50" fmla="*/ 0 w 46"/>
                  <a:gd name="T51" fmla="*/ 1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6"/>
                  <a:gd name="T85" fmla="*/ 0 h 62"/>
                  <a:gd name="T86" fmla="*/ 46 w 46"/>
                  <a:gd name="T87" fmla="*/ 62 h 6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1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2 w 152"/>
                  <a:gd name="T1" fmla="*/ 0 h 296"/>
                  <a:gd name="T2" fmla="*/ 2 w 152"/>
                  <a:gd name="T3" fmla="*/ 0 h 296"/>
                  <a:gd name="T4" fmla="*/ 3 w 152"/>
                  <a:gd name="T5" fmla="*/ 1 h 296"/>
                  <a:gd name="T6" fmla="*/ 3 w 152"/>
                  <a:gd name="T7" fmla="*/ 1 h 296"/>
                  <a:gd name="T8" fmla="*/ 4 w 152"/>
                  <a:gd name="T9" fmla="*/ 1 h 296"/>
                  <a:gd name="T10" fmla="*/ 4 w 152"/>
                  <a:gd name="T11" fmla="*/ 1 h 296"/>
                  <a:gd name="T12" fmla="*/ 4 w 152"/>
                  <a:gd name="T13" fmla="*/ 0 h 296"/>
                  <a:gd name="T14" fmla="*/ 4 w 152"/>
                  <a:gd name="T15" fmla="*/ 1 h 296"/>
                  <a:gd name="T16" fmla="*/ 5 w 152"/>
                  <a:gd name="T17" fmla="*/ 2 h 296"/>
                  <a:gd name="T18" fmla="*/ 5 w 152"/>
                  <a:gd name="T19" fmla="*/ 3 h 296"/>
                  <a:gd name="T20" fmla="*/ 5 w 152"/>
                  <a:gd name="T21" fmla="*/ 3 h 296"/>
                  <a:gd name="T22" fmla="*/ 5 w 152"/>
                  <a:gd name="T23" fmla="*/ 4 h 296"/>
                  <a:gd name="T24" fmla="*/ 5 w 152"/>
                  <a:gd name="T25" fmla="*/ 4 h 296"/>
                  <a:gd name="T26" fmla="*/ 5 w 152"/>
                  <a:gd name="T27" fmla="*/ 5 h 296"/>
                  <a:gd name="T28" fmla="*/ 4 w 152"/>
                  <a:gd name="T29" fmla="*/ 6 h 296"/>
                  <a:gd name="T30" fmla="*/ 4 w 152"/>
                  <a:gd name="T31" fmla="*/ 6 h 296"/>
                  <a:gd name="T32" fmla="*/ 4 w 152"/>
                  <a:gd name="T33" fmla="*/ 7 h 296"/>
                  <a:gd name="T34" fmla="*/ 4 w 152"/>
                  <a:gd name="T35" fmla="*/ 8 h 296"/>
                  <a:gd name="T36" fmla="*/ 4 w 152"/>
                  <a:gd name="T37" fmla="*/ 8 h 296"/>
                  <a:gd name="T38" fmla="*/ 4 w 152"/>
                  <a:gd name="T39" fmla="*/ 8 h 296"/>
                  <a:gd name="T40" fmla="*/ 5 w 152"/>
                  <a:gd name="T41" fmla="*/ 8 h 296"/>
                  <a:gd name="T42" fmla="*/ 5 w 152"/>
                  <a:gd name="T43" fmla="*/ 9 h 296"/>
                  <a:gd name="T44" fmla="*/ 5 w 152"/>
                  <a:gd name="T45" fmla="*/ 10 h 296"/>
                  <a:gd name="T46" fmla="*/ 5 w 152"/>
                  <a:gd name="T47" fmla="*/ 10 h 296"/>
                  <a:gd name="T48" fmla="*/ 4 w 152"/>
                  <a:gd name="T49" fmla="*/ 11 h 296"/>
                  <a:gd name="T50" fmla="*/ 4 w 152"/>
                  <a:gd name="T51" fmla="*/ 11 h 296"/>
                  <a:gd name="T52" fmla="*/ 3 w 152"/>
                  <a:gd name="T53" fmla="*/ 11 h 296"/>
                  <a:gd name="T54" fmla="*/ 3 w 152"/>
                  <a:gd name="T55" fmla="*/ 10 h 296"/>
                  <a:gd name="T56" fmla="*/ 2 w 152"/>
                  <a:gd name="T57" fmla="*/ 10 h 296"/>
                  <a:gd name="T58" fmla="*/ 2 w 152"/>
                  <a:gd name="T59" fmla="*/ 10 h 296"/>
                  <a:gd name="T60" fmla="*/ 3 w 152"/>
                  <a:gd name="T61" fmla="*/ 9 h 296"/>
                  <a:gd name="T62" fmla="*/ 3 w 152"/>
                  <a:gd name="T63" fmla="*/ 9 h 296"/>
                  <a:gd name="T64" fmla="*/ 2 w 152"/>
                  <a:gd name="T65" fmla="*/ 9 h 296"/>
                  <a:gd name="T66" fmla="*/ 1 w 152"/>
                  <a:gd name="T67" fmla="*/ 8 h 296"/>
                  <a:gd name="T68" fmla="*/ 1 w 152"/>
                  <a:gd name="T69" fmla="*/ 8 h 296"/>
                  <a:gd name="T70" fmla="*/ 1 w 152"/>
                  <a:gd name="T71" fmla="*/ 8 h 296"/>
                  <a:gd name="T72" fmla="*/ 0 w 152"/>
                  <a:gd name="T73" fmla="*/ 7 h 296"/>
                  <a:gd name="T74" fmla="*/ 0 w 152"/>
                  <a:gd name="T75" fmla="*/ 6 h 296"/>
                  <a:gd name="T76" fmla="*/ 0 w 152"/>
                  <a:gd name="T77" fmla="*/ 6 h 296"/>
                  <a:gd name="T78" fmla="*/ 0 w 152"/>
                  <a:gd name="T79" fmla="*/ 5 h 296"/>
                  <a:gd name="T80" fmla="*/ 1 w 152"/>
                  <a:gd name="T81" fmla="*/ 4 h 296"/>
                  <a:gd name="T82" fmla="*/ 1 w 152"/>
                  <a:gd name="T83" fmla="*/ 2 h 296"/>
                  <a:gd name="T84" fmla="*/ 1 w 152"/>
                  <a:gd name="T85" fmla="*/ 1 h 296"/>
                  <a:gd name="T86" fmla="*/ 1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2"/>
                  <a:gd name="T133" fmla="*/ 0 h 296"/>
                  <a:gd name="T134" fmla="*/ 152 w 152"/>
                  <a:gd name="T135" fmla="*/ 296 h 29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2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1 w 26"/>
                  <a:gd name="T1" fmla="*/ 1 h 38"/>
                  <a:gd name="T2" fmla="*/ 1 w 26"/>
                  <a:gd name="T3" fmla="*/ 0 h 38"/>
                  <a:gd name="T4" fmla="*/ 1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1 w 26"/>
                  <a:gd name="T13" fmla="*/ 1 h 38"/>
                  <a:gd name="T14" fmla="*/ 1 w 26"/>
                  <a:gd name="T15" fmla="*/ 1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6"/>
                  <a:gd name="T25" fmla="*/ 0 h 38"/>
                  <a:gd name="T26" fmla="*/ 26 w 26"/>
                  <a:gd name="T27" fmla="*/ 38 h 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3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 h 31"/>
                  <a:gd name="T2" fmla="*/ 0 w 34"/>
                  <a:gd name="T3" fmla="*/ 1 h 31"/>
                  <a:gd name="T4" fmla="*/ 0 w 34"/>
                  <a:gd name="T5" fmla="*/ 1 h 31"/>
                  <a:gd name="T6" fmla="*/ 1 w 34"/>
                  <a:gd name="T7" fmla="*/ 1 h 31"/>
                  <a:gd name="T8" fmla="*/ 1 w 34"/>
                  <a:gd name="T9" fmla="*/ 1 h 31"/>
                  <a:gd name="T10" fmla="*/ 1 w 34"/>
                  <a:gd name="T11" fmla="*/ 1 h 31"/>
                  <a:gd name="T12" fmla="*/ 1 w 34"/>
                  <a:gd name="T13" fmla="*/ 1 h 31"/>
                  <a:gd name="T14" fmla="*/ 1 w 34"/>
                  <a:gd name="T15" fmla="*/ 0 h 31"/>
                  <a:gd name="T16" fmla="*/ 1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1 h 31"/>
                  <a:gd name="T24" fmla="*/ 0 w 34"/>
                  <a:gd name="T25" fmla="*/ 1 h 31"/>
                  <a:gd name="T26" fmla="*/ 0 w 34"/>
                  <a:gd name="T27" fmla="*/ 1 h 31"/>
                  <a:gd name="T28" fmla="*/ 0 w 34"/>
                  <a:gd name="T29" fmla="*/ 1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4"/>
                  <a:gd name="T46" fmla="*/ 0 h 31"/>
                  <a:gd name="T47" fmla="*/ 34 w 34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4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1 h 37"/>
                  <a:gd name="T4" fmla="*/ 0 w 20"/>
                  <a:gd name="T5" fmla="*/ 1 h 37"/>
                  <a:gd name="T6" fmla="*/ 1 w 20"/>
                  <a:gd name="T7" fmla="*/ 1 h 37"/>
                  <a:gd name="T8" fmla="*/ 1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37"/>
                  <a:gd name="T20" fmla="*/ 20 w 20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5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6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8"/>
                  <a:gd name="T17" fmla="*/ 13 w 13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7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8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1 w 27"/>
                  <a:gd name="T3" fmla="*/ 1 h 31"/>
                  <a:gd name="T4" fmla="*/ 1 w 27"/>
                  <a:gd name="T5" fmla="*/ 0 h 31"/>
                  <a:gd name="T6" fmla="*/ 0 60000 65536"/>
                  <a:gd name="T7" fmla="*/ 0 60000 65536"/>
                  <a:gd name="T8" fmla="*/ 0 60000 65536"/>
                  <a:gd name="T9" fmla="*/ 0 w 27"/>
                  <a:gd name="T10" fmla="*/ 0 h 31"/>
                  <a:gd name="T11" fmla="*/ 27 w 27"/>
                  <a:gd name="T12" fmla="*/ 31 h 3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9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1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"/>
                  <a:gd name="T11" fmla="*/ 20 w 2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0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 h 13"/>
                  <a:gd name="T2" fmla="*/ 0 w 34"/>
                  <a:gd name="T3" fmla="*/ 1 h 13"/>
                  <a:gd name="T4" fmla="*/ 0 w 34"/>
                  <a:gd name="T5" fmla="*/ 1 h 13"/>
                  <a:gd name="T6" fmla="*/ 1 w 34"/>
                  <a:gd name="T7" fmla="*/ 1 h 13"/>
                  <a:gd name="T8" fmla="*/ 1 w 34"/>
                  <a:gd name="T9" fmla="*/ 0 h 13"/>
                  <a:gd name="T10" fmla="*/ 1 w 34"/>
                  <a:gd name="T11" fmla="*/ 0 h 13"/>
                  <a:gd name="T12" fmla="*/ 1 w 34"/>
                  <a:gd name="T13" fmla="*/ 0 h 13"/>
                  <a:gd name="T14" fmla="*/ 1 w 34"/>
                  <a:gd name="T15" fmla="*/ 0 h 13"/>
                  <a:gd name="T16" fmla="*/ 1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"/>
                  <a:gd name="T28" fmla="*/ 0 h 13"/>
                  <a:gd name="T29" fmla="*/ 34 w 34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1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 w 34"/>
                  <a:gd name="T1" fmla="*/ 1 h 18"/>
                  <a:gd name="T2" fmla="*/ 1 w 34"/>
                  <a:gd name="T3" fmla="*/ 0 h 18"/>
                  <a:gd name="T4" fmla="*/ 1 w 34"/>
                  <a:gd name="T5" fmla="*/ 0 h 18"/>
                  <a:gd name="T6" fmla="*/ 1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1 w 34"/>
                  <a:gd name="T13" fmla="*/ 1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4"/>
                  <a:gd name="T22" fmla="*/ 0 h 18"/>
                  <a:gd name="T23" fmla="*/ 34 w 34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2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2 w 59"/>
                  <a:gd name="T1" fmla="*/ 1 h 25"/>
                  <a:gd name="T2" fmla="*/ 2 w 59"/>
                  <a:gd name="T3" fmla="*/ 0 h 25"/>
                  <a:gd name="T4" fmla="*/ 2 w 59"/>
                  <a:gd name="T5" fmla="*/ 0 h 25"/>
                  <a:gd name="T6" fmla="*/ 2 w 59"/>
                  <a:gd name="T7" fmla="*/ 0 h 25"/>
                  <a:gd name="T8" fmla="*/ 1 w 59"/>
                  <a:gd name="T9" fmla="*/ 0 h 25"/>
                  <a:gd name="T10" fmla="*/ 1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1 w 59"/>
                  <a:gd name="T21" fmla="*/ 1 h 25"/>
                  <a:gd name="T22" fmla="*/ 1 w 59"/>
                  <a:gd name="T23" fmla="*/ 1 h 25"/>
                  <a:gd name="T24" fmla="*/ 1 w 59"/>
                  <a:gd name="T25" fmla="*/ 1 h 25"/>
                  <a:gd name="T26" fmla="*/ 2 w 59"/>
                  <a:gd name="T27" fmla="*/ 1 h 25"/>
                  <a:gd name="T28" fmla="*/ 2 w 59"/>
                  <a:gd name="T29" fmla="*/ 1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9"/>
                  <a:gd name="T46" fmla="*/ 0 h 25"/>
                  <a:gd name="T47" fmla="*/ 59 w 59"/>
                  <a:gd name="T48" fmla="*/ 25 h 2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3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323" name="Freeform 307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8101916" y="4861132"/>
              <a:ext cx="13716" cy="53521"/>
            </a:xfrm>
            <a:custGeom>
              <a:avLst/>
              <a:gdLst>
                <a:gd name="T0" fmla="*/ 0 w 33"/>
                <a:gd name="T1" fmla="*/ 2147483647 h 43"/>
                <a:gd name="T2" fmla="*/ 71865598 w 33"/>
                <a:gd name="T3" fmla="*/ 2147483647 h 43"/>
                <a:gd name="T4" fmla="*/ 143558292 w 33"/>
                <a:gd name="T5" fmla="*/ 2147483647 h 43"/>
                <a:gd name="T6" fmla="*/ 358981740 w 33"/>
                <a:gd name="T7" fmla="*/ 2147483647 h 43"/>
                <a:gd name="T8" fmla="*/ 646271228 w 33"/>
                <a:gd name="T9" fmla="*/ 2147483647 h 43"/>
                <a:gd name="T10" fmla="*/ 1005253072 w 33"/>
                <a:gd name="T11" fmla="*/ 2147483647 h 43"/>
                <a:gd name="T12" fmla="*/ 1436099865 w 33"/>
                <a:gd name="T13" fmla="*/ 2147483647 h 43"/>
                <a:gd name="T14" fmla="*/ 1866947073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1651524093 w 33"/>
                <a:gd name="T21" fmla="*/ 2147483647 h 43"/>
                <a:gd name="T22" fmla="*/ 1292369552 w 33"/>
                <a:gd name="T23" fmla="*/ 2147483647 h 43"/>
                <a:gd name="T24" fmla="*/ 1148811312 w 33"/>
                <a:gd name="T25" fmla="*/ 2147483647 h 43"/>
                <a:gd name="T26" fmla="*/ 1148811312 w 33"/>
                <a:gd name="T27" fmla="*/ 2147483647 h 43"/>
                <a:gd name="T28" fmla="*/ 1148811312 w 33"/>
                <a:gd name="T29" fmla="*/ 2147483647 h 43"/>
                <a:gd name="T30" fmla="*/ 1005253072 w 33"/>
                <a:gd name="T31" fmla="*/ 2147483647 h 43"/>
                <a:gd name="T32" fmla="*/ 717963896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4" name="Freeform 308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175067" y="4803024"/>
              <a:ext cx="21336" cy="56579"/>
            </a:xfrm>
            <a:custGeom>
              <a:avLst/>
              <a:gdLst>
                <a:gd name="T0" fmla="*/ 0 w 54"/>
                <a:gd name="T1" fmla="*/ 2147483647 h 92"/>
                <a:gd name="T2" fmla="*/ 61664603 w 54"/>
                <a:gd name="T3" fmla="*/ 2147483647 h 92"/>
                <a:gd name="T4" fmla="*/ 123329207 w 54"/>
                <a:gd name="T5" fmla="*/ 2147483647 h 92"/>
                <a:gd name="T6" fmla="*/ 184993785 w 54"/>
                <a:gd name="T7" fmla="*/ 2147483647 h 92"/>
                <a:gd name="T8" fmla="*/ 370143244 w 54"/>
                <a:gd name="T9" fmla="*/ 2147483647 h 92"/>
                <a:gd name="T10" fmla="*/ 678466236 w 54"/>
                <a:gd name="T11" fmla="*/ 2147483647 h 92"/>
                <a:gd name="T12" fmla="*/ 1110274157 w 54"/>
                <a:gd name="T13" fmla="*/ 2147483647 h 92"/>
                <a:gd name="T14" fmla="*/ 1912069352 w 54"/>
                <a:gd name="T15" fmla="*/ 162820101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035554183 w 54"/>
                <a:gd name="T29" fmla="*/ 2147483647 h 92"/>
                <a:gd name="T30" fmla="*/ 1727075221 w 54"/>
                <a:gd name="T31" fmla="*/ 2147483647 h 92"/>
                <a:gd name="T32" fmla="*/ 1603746459 w 54"/>
                <a:gd name="T33" fmla="*/ 2147483647 h 92"/>
                <a:gd name="T34" fmla="*/ 1603746459 w 54"/>
                <a:gd name="T35" fmla="*/ 2147483647 h 92"/>
                <a:gd name="T36" fmla="*/ 1480417302 w 54"/>
                <a:gd name="T37" fmla="*/ 2147483647 h 92"/>
                <a:gd name="T38" fmla="*/ 1233603314 w 54"/>
                <a:gd name="T39" fmla="*/ 2147483647 h 92"/>
                <a:gd name="T40" fmla="*/ 863615843 w 54"/>
                <a:gd name="T41" fmla="*/ 2147483647 h 92"/>
                <a:gd name="T42" fmla="*/ 493472500 w 54"/>
                <a:gd name="T43" fmla="*/ 2147483647 h 92"/>
                <a:gd name="T44" fmla="*/ 308479060 w 54"/>
                <a:gd name="T45" fmla="*/ 2147483647 h 92"/>
                <a:gd name="T46" fmla="*/ 123329207 w 54"/>
                <a:gd name="T47" fmla="*/ 2147483647 h 92"/>
                <a:gd name="T48" fmla="*/ 61664603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5" name="Freeform 309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220786" y="4686809"/>
              <a:ext cx="22860" cy="55049"/>
            </a:xfrm>
            <a:custGeom>
              <a:avLst/>
              <a:gdLst>
                <a:gd name="T0" fmla="*/ 0 w 60"/>
                <a:gd name="T1" fmla="*/ 0 h 18"/>
                <a:gd name="T2" fmla="*/ 1050820212 w 60"/>
                <a:gd name="T3" fmla="*/ 2147483647 h 18"/>
                <a:gd name="T4" fmla="*/ 2046334478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01640424 w 60"/>
                <a:gd name="T15" fmla="*/ 2147483647 h 18"/>
                <a:gd name="T16" fmla="*/ 1272045520 w 60"/>
                <a:gd name="T17" fmla="*/ 2147483647 h 18"/>
                <a:gd name="T18" fmla="*/ 553063460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6" name="Freeform 310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205546" y="4657756"/>
              <a:ext cx="24384" cy="55049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017146256 w 66"/>
                <a:gd name="T7" fmla="*/ 2147483647 h 18"/>
                <a:gd name="T8" fmla="*/ 1765037980 w 66"/>
                <a:gd name="T9" fmla="*/ 2147483647 h 18"/>
                <a:gd name="T10" fmla="*/ 1462424921 w 66"/>
                <a:gd name="T11" fmla="*/ 2147483647 h 18"/>
                <a:gd name="T12" fmla="*/ 1260682882 w 66"/>
                <a:gd name="T13" fmla="*/ 2147483647 h 18"/>
                <a:gd name="T14" fmla="*/ 958206152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7" name="Freeform 311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037909" y="4558361"/>
              <a:ext cx="7620" cy="55049"/>
            </a:xfrm>
            <a:custGeom>
              <a:avLst/>
              <a:gdLst>
                <a:gd name="T0" fmla="*/ 0 w 17"/>
                <a:gd name="T1" fmla="*/ 2147483647 h 42"/>
                <a:gd name="T2" fmla="*/ 1170730448 w 17"/>
                <a:gd name="T3" fmla="*/ 2147483647 h 42"/>
                <a:gd name="T4" fmla="*/ 1260740537 w 17"/>
                <a:gd name="T5" fmla="*/ 2147483647 h 42"/>
                <a:gd name="T6" fmla="*/ 1440961524 w 17"/>
                <a:gd name="T7" fmla="*/ 2147483647 h 42"/>
                <a:gd name="T8" fmla="*/ 1530970716 w 17"/>
                <a:gd name="T9" fmla="*/ 2147483647 h 42"/>
                <a:gd name="T10" fmla="*/ 1440961524 w 17"/>
                <a:gd name="T11" fmla="*/ 2147483647 h 42"/>
                <a:gd name="T12" fmla="*/ 1440961524 w 17"/>
                <a:gd name="T13" fmla="*/ 2147483647 h 42"/>
                <a:gd name="T14" fmla="*/ 1170730448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8" name="Freeform 312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967806" y="4688339"/>
              <a:ext cx="28956" cy="56578"/>
            </a:xfrm>
            <a:custGeom>
              <a:avLst/>
              <a:gdLst>
                <a:gd name="T0" fmla="*/ 390273729 w 72"/>
                <a:gd name="T1" fmla="*/ 2147483647 h 29"/>
                <a:gd name="T2" fmla="*/ 975765711 w 72"/>
                <a:gd name="T3" fmla="*/ 2147483647 h 29"/>
                <a:gd name="T4" fmla="*/ 1561094916 w 72"/>
                <a:gd name="T5" fmla="*/ 2147483647 h 29"/>
                <a:gd name="T6" fmla="*/ 2081405462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1756313371 w 72"/>
                <a:gd name="T25" fmla="*/ 2147483647 h 29"/>
                <a:gd name="T26" fmla="*/ 1366039340 w 72"/>
                <a:gd name="T27" fmla="*/ 2147483647 h 29"/>
                <a:gd name="T28" fmla="*/ 780547458 w 72"/>
                <a:gd name="T29" fmla="*/ 2147483647 h 29"/>
                <a:gd name="T30" fmla="*/ 0 w 72"/>
                <a:gd name="T31" fmla="*/ 2147483647 h 29"/>
                <a:gd name="T32" fmla="*/ 195217700 w 72"/>
                <a:gd name="T33" fmla="*/ 2147483647 h 29"/>
                <a:gd name="T34" fmla="*/ 390273729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29" name="Freeform 313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975426" y="4867249"/>
              <a:ext cx="18288" cy="53521"/>
            </a:xfrm>
            <a:custGeom>
              <a:avLst/>
              <a:gdLst>
                <a:gd name="T0" fmla="*/ 0 w 46"/>
                <a:gd name="T1" fmla="*/ 0 h 37"/>
                <a:gd name="T2" fmla="*/ 565531762 w 46"/>
                <a:gd name="T3" fmla="*/ 2147483647 h 37"/>
                <a:gd name="T4" fmla="*/ 1256719535 w 46"/>
                <a:gd name="T5" fmla="*/ 2147483647 h 37"/>
                <a:gd name="T6" fmla="*/ 1948064943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1822251496 w 46"/>
                <a:gd name="T13" fmla="*/ 2147483647 h 37"/>
                <a:gd name="T14" fmla="*/ 1319627054 w 46"/>
                <a:gd name="T15" fmla="*/ 2147483647 h 37"/>
                <a:gd name="T16" fmla="*/ 816844182 w 46"/>
                <a:gd name="T17" fmla="*/ 2147483647 h 37"/>
                <a:gd name="T18" fmla="*/ 565531762 w 46"/>
                <a:gd name="T19" fmla="*/ 2147483647 h 37"/>
                <a:gd name="T20" fmla="*/ 439875751 w 46"/>
                <a:gd name="T21" fmla="*/ 2147483647 h 37"/>
                <a:gd name="T22" fmla="*/ 314219640 w 46"/>
                <a:gd name="T23" fmla="*/ 2147483647 h 37"/>
                <a:gd name="T24" fmla="*/ 188563182 w 46"/>
                <a:gd name="T25" fmla="*/ 2147483647 h 37"/>
                <a:gd name="T26" fmla="*/ 62907146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0" name="Freeform 314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083628" y="4692926"/>
              <a:ext cx="10668" cy="55049"/>
            </a:xfrm>
            <a:custGeom>
              <a:avLst/>
              <a:gdLst>
                <a:gd name="T0" fmla="*/ 0 w 26"/>
                <a:gd name="T1" fmla="*/ 0 h 19"/>
                <a:gd name="T2" fmla="*/ 1795982712 w 26"/>
                <a:gd name="T3" fmla="*/ 2147483647 h 19"/>
                <a:gd name="T4" fmla="*/ 1795982712 w 26"/>
                <a:gd name="T5" fmla="*/ 2147483647 h 19"/>
                <a:gd name="T6" fmla="*/ 1795982712 w 26"/>
                <a:gd name="T7" fmla="*/ 0 h 19"/>
                <a:gd name="T8" fmla="*/ 1036209206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1" name="Freeform 315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949518" y="4688339"/>
              <a:ext cx="18288" cy="56578"/>
            </a:xfrm>
            <a:custGeom>
              <a:avLst/>
              <a:gdLst>
                <a:gd name="T0" fmla="*/ 153930520 w 43"/>
                <a:gd name="T1" fmla="*/ 0 h 31"/>
                <a:gd name="T2" fmla="*/ 76874671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153930520 w 43"/>
                <a:gd name="T13" fmla="*/ 2147483647 h 31"/>
                <a:gd name="T14" fmla="*/ 1000096788 w 43"/>
                <a:gd name="T15" fmla="*/ 2147483647 h 31"/>
                <a:gd name="T16" fmla="*/ 192331935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153930520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2" name="Freeform 316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992189" y="4734213"/>
              <a:ext cx="28956" cy="55049"/>
            </a:xfrm>
            <a:custGeom>
              <a:avLst/>
              <a:gdLst>
                <a:gd name="T0" fmla="*/ 271277738 w 71"/>
                <a:gd name="T1" fmla="*/ 2147483647 h 49"/>
                <a:gd name="T2" fmla="*/ 271277738 w 71"/>
                <a:gd name="T3" fmla="*/ 2147483647 h 49"/>
                <a:gd name="T4" fmla="*/ 339138746 w 71"/>
                <a:gd name="T5" fmla="*/ 2147483647 h 49"/>
                <a:gd name="T6" fmla="*/ 474860863 w 71"/>
                <a:gd name="T7" fmla="*/ 2147483647 h 49"/>
                <a:gd name="T8" fmla="*/ 610416891 w 71"/>
                <a:gd name="T9" fmla="*/ 2147483647 h 49"/>
                <a:gd name="T10" fmla="*/ 949721726 w 71"/>
                <a:gd name="T11" fmla="*/ 2147483647 h 49"/>
                <a:gd name="T12" fmla="*/ 1220999362 w 71"/>
                <a:gd name="T13" fmla="*/ 2147483647 h 49"/>
                <a:gd name="T14" fmla="*/ 1560138414 w 71"/>
                <a:gd name="T15" fmla="*/ 2147483647 h 49"/>
                <a:gd name="T16" fmla="*/ 2034999888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1967138473 w 71"/>
                <a:gd name="T39" fmla="*/ 2147483647 h 49"/>
                <a:gd name="T40" fmla="*/ 1424416398 w 71"/>
                <a:gd name="T41" fmla="*/ 2147483647 h 49"/>
                <a:gd name="T42" fmla="*/ 949721726 w 71"/>
                <a:gd name="T43" fmla="*/ 2147483647 h 49"/>
                <a:gd name="T44" fmla="*/ 271277738 w 71"/>
                <a:gd name="T45" fmla="*/ 0 h 49"/>
                <a:gd name="T46" fmla="*/ 203416679 w 71"/>
                <a:gd name="T47" fmla="*/ 1417380427 h 49"/>
                <a:gd name="T48" fmla="*/ 67861033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67861033 w 71"/>
                <a:gd name="T55" fmla="*/ 2147483647 h 49"/>
                <a:gd name="T56" fmla="*/ 271277738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3" name="Freeform 31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801693" y="4929944"/>
              <a:ext cx="44195" cy="56578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983138421 w 112"/>
                <a:gd name="T35" fmla="*/ 2147483647 h 26"/>
                <a:gd name="T36" fmla="*/ 0 w 112"/>
                <a:gd name="T37" fmla="*/ 2147483647 h 26"/>
                <a:gd name="T38" fmla="*/ 307211298 w 112"/>
                <a:gd name="T39" fmla="*/ 2147483647 h 26"/>
                <a:gd name="T40" fmla="*/ 675927419 w 112"/>
                <a:gd name="T41" fmla="*/ 2147483647 h 26"/>
                <a:gd name="T42" fmla="*/ 1105991806 w 112"/>
                <a:gd name="T43" fmla="*/ 2147483647 h 26"/>
                <a:gd name="T44" fmla="*/ 1536056391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4" name="Freeform 31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896179" y="4966644"/>
              <a:ext cx="13715" cy="56578"/>
            </a:xfrm>
            <a:custGeom>
              <a:avLst/>
              <a:gdLst>
                <a:gd name="T0" fmla="*/ 0 w 41"/>
                <a:gd name="T1" fmla="*/ 0 h 25"/>
                <a:gd name="T2" fmla="*/ 1534685851 w 41"/>
                <a:gd name="T3" fmla="*/ 0 h 25"/>
                <a:gd name="T4" fmla="*/ 1048040032 w 41"/>
                <a:gd name="T5" fmla="*/ 2147483647 h 25"/>
                <a:gd name="T6" fmla="*/ 673740260 w 41"/>
                <a:gd name="T7" fmla="*/ 2147483647 h 25"/>
                <a:gd name="T8" fmla="*/ 336925993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5" name="Freeform 31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736161" y="4900890"/>
              <a:ext cx="35052" cy="53521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161983940 w 81"/>
                <a:gd name="T9" fmla="*/ 2147483647 h 31"/>
                <a:gd name="T10" fmla="*/ 243069192 w 81"/>
                <a:gd name="T11" fmla="*/ 2147483647 h 31"/>
                <a:gd name="T12" fmla="*/ 324154824 w 81"/>
                <a:gd name="T13" fmla="*/ 2147483647 h 31"/>
                <a:gd name="T14" fmla="*/ 648309647 w 81"/>
                <a:gd name="T15" fmla="*/ 2147483647 h 31"/>
                <a:gd name="T16" fmla="*/ 1134448032 w 81"/>
                <a:gd name="T17" fmla="*/ 0 h 31"/>
                <a:gd name="T18" fmla="*/ 2106912612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6" name="Freeform 320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778832" y="4887128"/>
              <a:ext cx="38100" cy="53520"/>
            </a:xfrm>
            <a:custGeom>
              <a:avLst/>
              <a:gdLst>
                <a:gd name="T0" fmla="*/ 156871399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039694359 w 89"/>
                <a:gd name="T15" fmla="*/ 2147483647 h 49"/>
                <a:gd name="T16" fmla="*/ 1255154411 w 89"/>
                <a:gd name="T17" fmla="*/ 2147483647 h 49"/>
                <a:gd name="T18" fmla="*/ 706104275 w 89"/>
                <a:gd name="T19" fmla="*/ 0 h 49"/>
                <a:gd name="T20" fmla="*/ 313742797 w 89"/>
                <a:gd name="T21" fmla="*/ 2147483647 h 49"/>
                <a:gd name="T22" fmla="*/ 78435485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156871399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7" name="Freeform 321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829124" y="4896303"/>
              <a:ext cx="35051" cy="56578"/>
            </a:xfrm>
            <a:custGeom>
              <a:avLst/>
              <a:gdLst>
                <a:gd name="T0" fmla="*/ 0 w 86"/>
                <a:gd name="T1" fmla="*/ 2147483647 h 46"/>
                <a:gd name="T2" fmla="*/ 947841062 w 86"/>
                <a:gd name="T3" fmla="*/ 2147483647 h 46"/>
                <a:gd name="T4" fmla="*/ 1692526192 w 86"/>
                <a:gd name="T5" fmla="*/ 2147483647 h 46"/>
                <a:gd name="T6" fmla="*/ 2031065340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1860736032 h 46"/>
                <a:gd name="T42" fmla="*/ 2147483647 w 86"/>
                <a:gd name="T43" fmla="*/ 0 h 46"/>
                <a:gd name="T44" fmla="*/ 2147483647 w 86"/>
                <a:gd name="T45" fmla="*/ 0 h 46"/>
                <a:gd name="T46" fmla="*/ 1760300537 w 86"/>
                <a:gd name="T47" fmla="*/ 1860736032 h 46"/>
                <a:gd name="T48" fmla="*/ 1286379802 w 86"/>
                <a:gd name="T49" fmla="*/ 2147483647 h 46"/>
                <a:gd name="T50" fmla="*/ 947841062 w 86"/>
                <a:gd name="T51" fmla="*/ 2147483647 h 46"/>
                <a:gd name="T52" fmla="*/ 541694876 w 86"/>
                <a:gd name="T53" fmla="*/ 2147483647 h 46"/>
                <a:gd name="T54" fmla="*/ 270764498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8" name="Freeform 322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879415" y="4900890"/>
              <a:ext cx="24384" cy="5352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047122234 w 59"/>
                <a:gd name="T15" fmla="*/ 2147483647 h 18"/>
                <a:gd name="T16" fmla="*/ 1552978123 w 59"/>
                <a:gd name="T17" fmla="*/ 2147483647 h 18"/>
                <a:gd name="T18" fmla="*/ 988289464 w 59"/>
                <a:gd name="T19" fmla="*/ 2147483647 h 18"/>
                <a:gd name="T20" fmla="*/ 494145145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39" name="Freeform 323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949518" y="4893245"/>
              <a:ext cx="1524" cy="53520"/>
            </a:xfrm>
            <a:custGeom>
              <a:avLst/>
              <a:gdLst>
                <a:gd name="T0" fmla="*/ 221225354 w 4"/>
                <a:gd name="T1" fmla="*/ 2147483647 h 19"/>
                <a:gd name="T2" fmla="*/ 221225354 w 4"/>
                <a:gd name="T3" fmla="*/ 0 h 19"/>
                <a:gd name="T4" fmla="*/ 110612677 w 4"/>
                <a:gd name="T5" fmla="*/ 2147483647 h 19"/>
                <a:gd name="T6" fmla="*/ 55306338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55306338 w 4"/>
                <a:gd name="T15" fmla="*/ 2147483647 h 19"/>
                <a:gd name="T16" fmla="*/ 110612677 w 4"/>
                <a:gd name="T17" fmla="*/ 2147483647 h 19"/>
                <a:gd name="T18" fmla="*/ 221225354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0" name="Freeform 324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541092" y="4714334"/>
              <a:ext cx="19812" cy="56579"/>
            </a:xfrm>
            <a:custGeom>
              <a:avLst/>
              <a:gdLst>
                <a:gd name="T0" fmla="*/ 0 w 46"/>
                <a:gd name="T1" fmla="*/ 2147483647 h 50"/>
                <a:gd name="T2" fmla="*/ 559278577 w 46"/>
                <a:gd name="T3" fmla="*/ 0 h 50"/>
                <a:gd name="T4" fmla="*/ 1837549470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1677835946 w 46"/>
                <a:gd name="T19" fmla="*/ 2147483647 h 50"/>
                <a:gd name="T20" fmla="*/ 639228584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1" name="Freeform 325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489276" y="4688339"/>
              <a:ext cx="28956" cy="56578"/>
            </a:xfrm>
            <a:custGeom>
              <a:avLst/>
              <a:gdLst>
                <a:gd name="T0" fmla="*/ 0 w 66"/>
                <a:gd name="T1" fmla="*/ 0 h 80"/>
                <a:gd name="T2" fmla="*/ 844416895 w 66"/>
                <a:gd name="T3" fmla="*/ 0 h 80"/>
                <a:gd name="T4" fmla="*/ 1520026529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2" name="Freeform 326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7330783" y="4673047"/>
              <a:ext cx="7620" cy="55049"/>
            </a:xfrm>
            <a:custGeom>
              <a:avLst/>
              <a:gdLst>
                <a:gd name="T0" fmla="*/ 1106126779 w 20"/>
                <a:gd name="T1" fmla="*/ 2147483647 h 48"/>
                <a:gd name="T2" fmla="*/ 1106126779 w 20"/>
                <a:gd name="T3" fmla="*/ 2147483647 h 48"/>
                <a:gd name="T4" fmla="*/ 1050820078 w 20"/>
                <a:gd name="T5" fmla="*/ 2147483647 h 48"/>
                <a:gd name="T6" fmla="*/ 884901499 w 20"/>
                <a:gd name="T7" fmla="*/ 2147483647 h 48"/>
                <a:gd name="T8" fmla="*/ 774288669 w 20"/>
                <a:gd name="T9" fmla="*/ 2147483647 h 48"/>
                <a:gd name="T10" fmla="*/ 663676029 w 20"/>
                <a:gd name="T11" fmla="*/ 2147483647 h 48"/>
                <a:gd name="T12" fmla="*/ 497757070 w 20"/>
                <a:gd name="T13" fmla="*/ 2147483647 h 48"/>
                <a:gd name="T14" fmla="*/ 221225375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110612687 w 20"/>
                <a:gd name="T21" fmla="*/ 2147483647 h 48"/>
                <a:gd name="T22" fmla="*/ 221225375 w 20"/>
                <a:gd name="T23" fmla="*/ 2147483647 h 48"/>
                <a:gd name="T24" fmla="*/ 442450750 w 20"/>
                <a:gd name="T25" fmla="*/ 2147483647 h 48"/>
                <a:gd name="T26" fmla="*/ 774288669 w 20"/>
                <a:gd name="T27" fmla="*/ 2147483647 h 48"/>
                <a:gd name="T28" fmla="*/ 1106126779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3" name="Line 327" descr="Horizontal dunkel"/>
            <p:cNvSpPr>
              <a:spLocks noChangeShapeType="1"/>
            </p:cNvSpPr>
            <p:nvPr>
              <p:custDataLst>
                <p:tags r:id="rId229"/>
              </p:custDataLst>
            </p:nvPr>
          </p:nvSpPr>
          <p:spPr bwMode="auto">
            <a:xfrm>
              <a:off x="7355166" y="4708217"/>
              <a:ext cx="4572" cy="611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344" name="Freeform 328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7352118" y="4708217"/>
              <a:ext cx="7620" cy="55049"/>
            </a:xfrm>
            <a:custGeom>
              <a:avLst/>
              <a:gdLst>
                <a:gd name="T0" fmla="*/ 1106126779 w 20"/>
                <a:gd name="T1" fmla="*/ 2147483647 h 12"/>
                <a:gd name="T2" fmla="*/ 1106126779 w 20"/>
                <a:gd name="T3" fmla="*/ 2147483647 h 12"/>
                <a:gd name="T4" fmla="*/ 995514139 w 20"/>
                <a:gd name="T5" fmla="*/ 2147483647 h 12"/>
                <a:gd name="T6" fmla="*/ 829594799 w 20"/>
                <a:gd name="T7" fmla="*/ 2147483647 h 12"/>
                <a:gd name="T8" fmla="*/ 718982349 w 20"/>
                <a:gd name="T9" fmla="*/ 2147483647 h 12"/>
                <a:gd name="T10" fmla="*/ 387144335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5" name="Freeform 329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7257632" y="4558361"/>
              <a:ext cx="21336" cy="55049"/>
            </a:xfrm>
            <a:custGeom>
              <a:avLst/>
              <a:gdLst>
                <a:gd name="T0" fmla="*/ 456683463 w 53"/>
                <a:gd name="T1" fmla="*/ 0 h 30"/>
                <a:gd name="T2" fmla="*/ 717598916 w 53"/>
                <a:gd name="T3" fmla="*/ 2147483647 h 30"/>
                <a:gd name="T4" fmla="*/ 1500507712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1696275117 w 53"/>
                <a:gd name="T17" fmla="*/ 2147483647 h 30"/>
                <a:gd name="T18" fmla="*/ 1370049784 w 53"/>
                <a:gd name="T19" fmla="*/ 2147483647 h 30"/>
                <a:gd name="T20" fmla="*/ 978514973 w 53"/>
                <a:gd name="T21" fmla="*/ 2147483647 h 30"/>
                <a:gd name="T22" fmla="*/ 587141391 w 53"/>
                <a:gd name="T23" fmla="*/ 2147483647 h 30"/>
                <a:gd name="T24" fmla="*/ 0 w 53"/>
                <a:gd name="T25" fmla="*/ 2147483647 h 30"/>
                <a:gd name="T26" fmla="*/ 456683463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6" name="Freeform 330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765117" y="4908536"/>
              <a:ext cx="10667" cy="55049"/>
            </a:xfrm>
            <a:custGeom>
              <a:avLst/>
              <a:gdLst>
                <a:gd name="T0" fmla="*/ 0 w 33"/>
                <a:gd name="T1" fmla="*/ 2147483647 h 31"/>
                <a:gd name="T2" fmla="*/ 135099796 w 33"/>
                <a:gd name="T3" fmla="*/ 2147483647 h 31"/>
                <a:gd name="T4" fmla="*/ 236451158 w 33"/>
                <a:gd name="T5" fmla="*/ 2147483647 h 31"/>
                <a:gd name="T6" fmla="*/ 742997258 w 33"/>
                <a:gd name="T7" fmla="*/ 2147483647 h 31"/>
                <a:gd name="T8" fmla="*/ 1114548091 w 33"/>
                <a:gd name="T9" fmla="*/ 2147483647 h 31"/>
                <a:gd name="T10" fmla="*/ 1114548091 w 33"/>
                <a:gd name="T11" fmla="*/ 0 h 31"/>
                <a:gd name="T12" fmla="*/ 911950823 w 33"/>
                <a:gd name="T13" fmla="*/ 0 h 31"/>
                <a:gd name="T14" fmla="*/ 641750828 w 33"/>
                <a:gd name="T15" fmla="*/ 0 h 31"/>
                <a:gd name="T16" fmla="*/ 337697750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7" name="Freeform 331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260410" y="4867249"/>
              <a:ext cx="27432" cy="53521"/>
            </a:xfrm>
            <a:custGeom>
              <a:avLst/>
              <a:gdLst>
                <a:gd name="T0" fmla="*/ 1428263291 w 65"/>
                <a:gd name="T1" fmla="*/ 2147483647 h 68"/>
                <a:gd name="T2" fmla="*/ 1202598480 w 65"/>
                <a:gd name="T3" fmla="*/ 2147483647 h 68"/>
                <a:gd name="T4" fmla="*/ 1052273723 w 65"/>
                <a:gd name="T5" fmla="*/ 2147483647 h 68"/>
                <a:gd name="T6" fmla="*/ 826786376 w 65"/>
                <a:gd name="T7" fmla="*/ 2147483647 h 68"/>
                <a:gd name="T8" fmla="*/ 526136861 w 65"/>
                <a:gd name="T9" fmla="*/ 2147483647 h 68"/>
                <a:gd name="T10" fmla="*/ 300649620 w 65"/>
                <a:gd name="T11" fmla="*/ 2147483647 h 68"/>
                <a:gd name="T12" fmla="*/ 150324810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150324810 w 65"/>
                <a:gd name="T21" fmla="*/ 2147483647 h 68"/>
                <a:gd name="T22" fmla="*/ 375811999 w 65"/>
                <a:gd name="T23" fmla="*/ 2147483647 h 68"/>
                <a:gd name="T24" fmla="*/ 676461619 w 65"/>
                <a:gd name="T25" fmla="*/ 2147483647 h 68"/>
                <a:gd name="T26" fmla="*/ 1127435679 w 65"/>
                <a:gd name="T27" fmla="*/ 2147483647 h 68"/>
                <a:gd name="T28" fmla="*/ 1653750849 w 65"/>
                <a:gd name="T29" fmla="*/ 1950136718 h 68"/>
                <a:gd name="T30" fmla="*/ 2147483647 w 65"/>
                <a:gd name="T31" fmla="*/ 975069146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029562742 w 65"/>
                <a:gd name="T49" fmla="*/ 2147483647 h 68"/>
                <a:gd name="T50" fmla="*/ 1428263291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8" name="Freeform 332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240868" y="4465083"/>
              <a:ext cx="263648" cy="354762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1726434345 w 625"/>
                <a:gd name="T69" fmla="*/ 2147483647 h 694"/>
                <a:gd name="T70" fmla="*/ 375288755 w 625"/>
                <a:gd name="T71" fmla="*/ 2147483647 h 694"/>
                <a:gd name="T72" fmla="*/ 750577511 w 625"/>
                <a:gd name="T73" fmla="*/ 534377838 h 694"/>
                <a:gd name="T74" fmla="*/ 2147483647 w 625"/>
                <a:gd name="T75" fmla="*/ 1736401423 h 694"/>
                <a:gd name="T76" fmla="*/ 2147483647 w 625"/>
                <a:gd name="T77" fmla="*/ 2137250649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49" name="Freeform 333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568523" y="4512486"/>
              <a:ext cx="243837" cy="247722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869022826 w 585"/>
                <a:gd name="T61" fmla="*/ 2147483647 h 493"/>
                <a:gd name="T62" fmla="*/ 362063719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761241729 h 493"/>
                <a:gd name="T96" fmla="*/ 2147483647 w 585"/>
                <a:gd name="T97" fmla="*/ 253747222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0" name="Freeform 334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909895" y="4903948"/>
              <a:ext cx="88391" cy="55049"/>
            </a:xfrm>
            <a:custGeom>
              <a:avLst/>
              <a:gdLst>
                <a:gd name="T0" fmla="*/ 0 w 212"/>
                <a:gd name="T1" fmla="*/ 2147483647 h 105"/>
                <a:gd name="T2" fmla="*/ 1159672492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115278601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1296815130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1667105063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1" name="Freeform 335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021146" y="4582827"/>
              <a:ext cx="41147" cy="85632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447272773 w 92"/>
                <a:gd name="T5" fmla="*/ 2147483647 h 166"/>
                <a:gd name="T6" fmla="*/ 1073574519 w 92"/>
                <a:gd name="T7" fmla="*/ 2147483647 h 166"/>
                <a:gd name="T8" fmla="*/ 1252604162 w 92"/>
                <a:gd name="T9" fmla="*/ 2147483647 h 166"/>
                <a:gd name="T10" fmla="*/ 1520847627 w 92"/>
                <a:gd name="T11" fmla="*/ 2147483647 h 166"/>
                <a:gd name="T12" fmla="*/ 1610462186 w 92"/>
                <a:gd name="T13" fmla="*/ 2147483647 h 166"/>
                <a:gd name="T14" fmla="*/ 1699876376 w 92"/>
                <a:gd name="T15" fmla="*/ 2147483647 h 166"/>
                <a:gd name="T16" fmla="*/ 1789290566 w 92"/>
                <a:gd name="T17" fmla="*/ 2147483647 h 166"/>
                <a:gd name="T18" fmla="*/ 214714903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1784511932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059133655 h 166"/>
                <a:gd name="T82" fmla="*/ 2147483647 w 92"/>
                <a:gd name="T83" fmla="*/ 1509890209 h 166"/>
                <a:gd name="T84" fmla="*/ 2057734847 w 92"/>
                <a:gd name="T85" fmla="*/ 960911655 h 166"/>
                <a:gd name="T86" fmla="*/ 1431432542 w 92"/>
                <a:gd name="T87" fmla="*/ 411933229 h 166"/>
                <a:gd name="T88" fmla="*/ 715716718 w 92"/>
                <a:gd name="T89" fmla="*/ 137310926 h 166"/>
                <a:gd name="T90" fmla="*/ 0 w 92"/>
                <a:gd name="T91" fmla="*/ 0 h 166"/>
                <a:gd name="T92" fmla="*/ 0 w 92"/>
                <a:gd name="T93" fmla="*/ 1372845013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2" name="Freeform 336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033337" y="4721980"/>
              <a:ext cx="68579" cy="53520"/>
            </a:xfrm>
            <a:custGeom>
              <a:avLst/>
              <a:gdLst>
                <a:gd name="T0" fmla="*/ 493587876 w 166"/>
                <a:gd name="T1" fmla="*/ 0 h 62"/>
                <a:gd name="T2" fmla="*/ 987175751 w 166"/>
                <a:gd name="T3" fmla="*/ 1929960938 h 62"/>
                <a:gd name="T4" fmla="*/ 1551251039 w 166"/>
                <a:gd name="T5" fmla="*/ 2147483647 h 62"/>
                <a:gd name="T6" fmla="*/ 2115326740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1929960938 h 62"/>
                <a:gd name="T18" fmla="*/ 2147483647 w 166"/>
                <a:gd name="T19" fmla="*/ 643072207 h 62"/>
                <a:gd name="T20" fmla="*/ 2147483647 w 166"/>
                <a:gd name="T21" fmla="*/ 0 h 62"/>
                <a:gd name="T22" fmla="*/ 2147483647 w 166"/>
                <a:gd name="T23" fmla="*/ 643072207 h 62"/>
                <a:gd name="T24" fmla="*/ 2147483647 w 166"/>
                <a:gd name="T25" fmla="*/ 1286144414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1833204405 w 166"/>
                <a:gd name="T75" fmla="*/ 2147483647 h 62"/>
                <a:gd name="T76" fmla="*/ 1339616323 w 166"/>
                <a:gd name="T77" fmla="*/ 2147483647 h 62"/>
                <a:gd name="T78" fmla="*/ 846199068 w 166"/>
                <a:gd name="T79" fmla="*/ 2147483647 h 62"/>
                <a:gd name="T80" fmla="*/ 493587876 w 166"/>
                <a:gd name="T81" fmla="*/ 2147483647 h 62"/>
                <a:gd name="T82" fmla="*/ 140976115 w 166"/>
                <a:gd name="T83" fmla="*/ 2147483647 h 62"/>
                <a:gd name="T84" fmla="*/ 70488057 w 166"/>
                <a:gd name="T85" fmla="*/ 2147483647 h 62"/>
                <a:gd name="T86" fmla="*/ 0 w 166"/>
                <a:gd name="T87" fmla="*/ 2147483647 h 62"/>
                <a:gd name="T88" fmla="*/ 70488057 w 166"/>
                <a:gd name="T89" fmla="*/ 2147483647 h 62"/>
                <a:gd name="T90" fmla="*/ 282123264 w 166"/>
                <a:gd name="T91" fmla="*/ 2147483647 h 62"/>
                <a:gd name="T92" fmla="*/ 493587876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3" name="Freeform 337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106488" y="4648581"/>
              <a:ext cx="82295" cy="61166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1550071920 h 121"/>
                <a:gd name="T6" fmla="*/ 2147483647 w 193"/>
                <a:gd name="T7" fmla="*/ 516690429 h 121"/>
                <a:gd name="T8" fmla="*/ 2147483647 w 193"/>
                <a:gd name="T9" fmla="*/ 129300373 h 121"/>
                <a:gd name="T10" fmla="*/ 2147483647 w 193"/>
                <a:gd name="T11" fmla="*/ 129300373 h 121"/>
                <a:gd name="T12" fmla="*/ 2147483647 w 193"/>
                <a:gd name="T13" fmla="*/ 387645872 h 121"/>
                <a:gd name="T14" fmla="*/ 2147483647 w 193"/>
                <a:gd name="T15" fmla="*/ 1291726010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1007805998 w 193"/>
                <a:gd name="T55" fmla="*/ 2147483647 h 121"/>
                <a:gd name="T56" fmla="*/ 232542678 w 193"/>
                <a:gd name="T57" fmla="*/ 2147483647 h 121"/>
                <a:gd name="T58" fmla="*/ 0 w 193"/>
                <a:gd name="T59" fmla="*/ 2147483647 h 121"/>
                <a:gd name="T60" fmla="*/ 77453668 w 193"/>
                <a:gd name="T61" fmla="*/ 2147483647 h 121"/>
                <a:gd name="T62" fmla="*/ 542721069 w 193"/>
                <a:gd name="T63" fmla="*/ 2147483647 h 121"/>
                <a:gd name="T64" fmla="*/ 1550527280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4" name="Freeform 338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807788" y="4588944"/>
              <a:ext cx="160017" cy="221727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1806307624 w 379"/>
                <a:gd name="T5" fmla="*/ 2147483647 h 437"/>
                <a:gd name="T6" fmla="*/ 150451450 w 379"/>
                <a:gd name="T7" fmla="*/ 2147483647 h 437"/>
                <a:gd name="T8" fmla="*/ 1128920416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914423456 h 437"/>
                <a:gd name="T36" fmla="*/ 2147483647 w 379"/>
                <a:gd name="T37" fmla="*/ 1175465828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5" name="Freeform 339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486228" y="4821374"/>
              <a:ext cx="240789" cy="91749"/>
            </a:xfrm>
            <a:custGeom>
              <a:avLst/>
              <a:gdLst>
                <a:gd name="T0" fmla="*/ 795193047 w 578"/>
                <a:gd name="T1" fmla="*/ 2147483647 h 184"/>
                <a:gd name="T2" fmla="*/ 1735124385 w 578"/>
                <a:gd name="T3" fmla="*/ 2147483647 h 184"/>
                <a:gd name="T4" fmla="*/ 2147483647 w 578"/>
                <a:gd name="T5" fmla="*/ 867745548 h 184"/>
                <a:gd name="T6" fmla="*/ 2147483647 w 578"/>
                <a:gd name="T7" fmla="*/ 0 h 184"/>
                <a:gd name="T8" fmla="*/ 2147483647 w 578"/>
                <a:gd name="T9" fmla="*/ 247891816 h 184"/>
                <a:gd name="T10" fmla="*/ 2147483647 w 578"/>
                <a:gd name="T11" fmla="*/ 247891816 h 184"/>
                <a:gd name="T12" fmla="*/ 2147483647 w 578"/>
                <a:gd name="T13" fmla="*/ 619853795 h 184"/>
                <a:gd name="T14" fmla="*/ 2147483647 w 578"/>
                <a:gd name="T15" fmla="*/ 1859809953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6" name="Freeform 340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40016" y="4683751"/>
              <a:ext cx="205737" cy="243135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1765579185 w 491"/>
                <a:gd name="T49" fmla="*/ 2147483647 h 481"/>
                <a:gd name="T50" fmla="*/ 956355427 w 491"/>
                <a:gd name="T51" fmla="*/ 2147483647 h 481"/>
                <a:gd name="T52" fmla="*/ 1029921261 w 491"/>
                <a:gd name="T53" fmla="*/ 2147483647 h 481"/>
                <a:gd name="T54" fmla="*/ 1692012932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1250617926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1162306825 h 481"/>
                <a:gd name="T92" fmla="*/ 2147483647 w 491"/>
                <a:gd name="T93" fmla="*/ 129031390 h 481"/>
                <a:gd name="T94" fmla="*/ 2147483647 w 491"/>
                <a:gd name="T95" fmla="*/ 0 h 481"/>
                <a:gd name="T96" fmla="*/ 2147483647 w 491"/>
                <a:gd name="T97" fmla="*/ 1033275215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7" name="Freeform 341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730335" y="3558298"/>
              <a:ext cx="51815" cy="58108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735049371 h 117"/>
                <a:gd name="T6" fmla="*/ 2147483647 w 133"/>
                <a:gd name="T7" fmla="*/ 1715032340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1892210469 w 133"/>
                <a:gd name="T45" fmla="*/ 2147483647 h 117"/>
                <a:gd name="T46" fmla="*/ 1064416356 w 133"/>
                <a:gd name="T47" fmla="*/ 2147483647 h 117"/>
                <a:gd name="T48" fmla="*/ 47309079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8" name="Freeform 342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249027" y="2984868"/>
              <a:ext cx="211834" cy="171265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1107126853 w 505"/>
                <a:gd name="T57" fmla="*/ 2147483647 h 339"/>
                <a:gd name="T58" fmla="*/ 147628600 w 505"/>
                <a:gd name="T59" fmla="*/ 2147483647 h 339"/>
                <a:gd name="T60" fmla="*/ 368983383 w 505"/>
                <a:gd name="T61" fmla="*/ 2147483647 h 339"/>
                <a:gd name="T62" fmla="*/ 811869549 w 505"/>
                <a:gd name="T63" fmla="*/ 2147483647 h 339"/>
                <a:gd name="T64" fmla="*/ 811869549 w 505"/>
                <a:gd name="T65" fmla="*/ 2147483647 h 339"/>
                <a:gd name="T66" fmla="*/ 811869549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1031654267 h 339"/>
                <a:gd name="T74" fmla="*/ 2147483647 w 505"/>
                <a:gd name="T75" fmla="*/ 1418332860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339"/>
                <a:gd name="T131" fmla="*/ 505 w 505"/>
                <a:gd name="T132" fmla="*/ 339 h 3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59" name="Freeform 343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309987" y="3182128"/>
              <a:ext cx="140206" cy="68812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929822236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092337761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1212814 w 338"/>
                <a:gd name="T37" fmla="*/ 2147483647 h 141"/>
                <a:gd name="T38" fmla="*/ 1498883316 w 338"/>
                <a:gd name="T39" fmla="*/ 2147483647 h 141"/>
                <a:gd name="T40" fmla="*/ 785145642 w 338"/>
                <a:gd name="T41" fmla="*/ 2147483647 h 141"/>
                <a:gd name="T42" fmla="*/ 0 w 338"/>
                <a:gd name="T43" fmla="*/ 2147483647 h 141"/>
                <a:gd name="T44" fmla="*/ 856553611 w 338"/>
                <a:gd name="T45" fmla="*/ 2147483647 h 141"/>
                <a:gd name="T46" fmla="*/ 1641699253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092337761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8"/>
                <a:gd name="T121" fmla="*/ 0 h 141"/>
                <a:gd name="T122" fmla="*/ 338 w 338"/>
                <a:gd name="T123" fmla="*/ 141 h 14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0" name="Freeform 344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405998" y="2850303"/>
              <a:ext cx="106679" cy="62695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1377538262 h 129"/>
                <a:gd name="T14" fmla="*/ 2147483647 w 259"/>
                <a:gd name="T15" fmla="*/ 1607128216 h 129"/>
                <a:gd name="T16" fmla="*/ 2147483647 w 259"/>
                <a:gd name="T17" fmla="*/ 1836718169 h 129"/>
                <a:gd name="T18" fmla="*/ 2147483647 w 259"/>
                <a:gd name="T19" fmla="*/ 1951513146 h 129"/>
                <a:gd name="T20" fmla="*/ 2147483647 w 259"/>
                <a:gd name="T21" fmla="*/ 2066308608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066308608 h 129"/>
                <a:gd name="T30" fmla="*/ 2147483647 w 259"/>
                <a:gd name="T31" fmla="*/ 1951513146 h 129"/>
                <a:gd name="T32" fmla="*/ 2147483647 w 259"/>
                <a:gd name="T33" fmla="*/ 1721923192 h 129"/>
                <a:gd name="T34" fmla="*/ 2147483647 w 259"/>
                <a:gd name="T35" fmla="*/ 1377538262 h 129"/>
                <a:gd name="T36" fmla="*/ 2147483647 w 259"/>
                <a:gd name="T37" fmla="*/ 1033154304 h 129"/>
                <a:gd name="T38" fmla="*/ 2147483647 w 259"/>
                <a:gd name="T39" fmla="*/ 688769617 h 129"/>
                <a:gd name="T40" fmla="*/ 2147483647 w 259"/>
                <a:gd name="T41" fmla="*/ 344384566 h 129"/>
                <a:gd name="T42" fmla="*/ 2147483647 w 259"/>
                <a:gd name="T43" fmla="*/ 11479500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29590014 h 129"/>
                <a:gd name="T54" fmla="*/ 1886695896 w 259"/>
                <a:gd name="T55" fmla="*/ 459179542 h 129"/>
                <a:gd name="T56" fmla="*/ 1467486753 w 259"/>
                <a:gd name="T57" fmla="*/ 688769617 h 129"/>
                <a:gd name="T58" fmla="*/ 978211782 w 259"/>
                <a:gd name="T59" fmla="*/ 1033154304 h 129"/>
                <a:gd name="T60" fmla="*/ 698795517 w 259"/>
                <a:gd name="T61" fmla="*/ 1492333239 h 129"/>
                <a:gd name="T62" fmla="*/ 349312704 w 259"/>
                <a:gd name="T63" fmla="*/ 1951513146 h 129"/>
                <a:gd name="T64" fmla="*/ 139793136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09689678 w 259"/>
                <a:gd name="T73" fmla="*/ 2147483647 h 129"/>
                <a:gd name="T74" fmla="*/ 419209246 w 259"/>
                <a:gd name="T75" fmla="*/ 2147483647 h 129"/>
                <a:gd name="T76" fmla="*/ 838588602 w 259"/>
                <a:gd name="T77" fmla="*/ 2147483647 h 129"/>
                <a:gd name="T78" fmla="*/ 1187901409 w 259"/>
                <a:gd name="T79" fmla="*/ 2147483647 h 129"/>
                <a:gd name="T80" fmla="*/ 1677006682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1" name="Freeform 345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418189" y="3185186"/>
              <a:ext cx="172209" cy="137623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1463546333 w 425"/>
                <a:gd name="T33" fmla="*/ 2147483647 h 272"/>
                <a:gd name="T34" fmla="*/ 731773166 w 425"/>
                <a:gd name="T35" fmla="*/ 2147483647 h 272"/>
                <a:gd name="T36" fmla="*/ 132989932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777223773 h 272"/>
                <a:gd name="T48" fmla="*/ 2147483647 w 425"/>
                <a:gd name="T49" fmla="*/ 1295372364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1943058294 h 272"/>
                <a:gd name="T62" fmla="*/ 2147483647 w 425"/>
                <a:gd name="T63" fmla="*/ 647686182 h 272"/>
                <a:gd name="T64" fmla="*/ 2147483647 w 425"/>
                <a:gd name="T65" fmla="*/ 259074739 h 272"/>
                <a:gd name="T66" fmla="*/ 2147483647 w 425"/>
                <a:gd name="T67" fmla="*/ 0 h 272"/>
                <a:gd name="T68" fmla="*/ 2147483647 w 425"/>
                <a:gd name="T69" fmla="*/ 259074739 h 272"/>
                <a:gd name="T70" fmla="*/ 2147483647 w 425"/>
                <a:gd name="T71" fmla="*/ 906760857 h 272"/>
                <a:gd name="T72" fmla="*/ 2147483647 w 425"/>
                <a:gd name="T73" fmla="*/ 1943058294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2" name="Freeform 346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497976" y="4185249"/>
              <a:ext cx="13715" cy="53521"/>
            </a:xfrm>
            <a:custGeom>
              <a:avLst/>
              <a:gdLst>
                <a:gd name="T0" fmla="*/ 933251705 w 33"/>
                <a:gd name="T1" fmla="*/ 2147483647 h 31"/>
                <a:gd name="T2" fmla="*/ 0 w 33"/>
                <a:gd name="T3" fmla="*/ 2147483647 h 31"/>
                <a:gd name="T4" fmla="*/ 358929384 w 33"/>
                <a:gd name="T5" fmla="*/ 2147483647 h 31"/>
                <a:gd name="T6" fmla="*/ 1004933743 w 33"/>
                <a:gd name="T7" fmla="*/ 2147483647 h 31"/>
                <a:gd name="T8" fmla="*/ 1364035500 w 33"/>
                <a:gd name="T9" fmla="*/ 2147483647 h 31"/>
                <a:gd name="T10" fmla="*/ 1651110266 w 33"/>
                <a:gd name="T11" fmla="*/ 2147483647 h 31"/>
                <a:gd name="T12" fmla="*/ 1938185448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1435718369 w 33"/>
                <a:gd name="T19" fmla="*/ 0 h 31"/>
                <a:gd name="T20" fmla="*/ 933251705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3" name="Freeform 347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518772" y="3177541"/>
              <a:ext cx="82295" cy="76457"/>
            </a:xfrm>
            <a:custGeom>
              <a:avLst/>
              <a:gdLst>
                <a:gd name="T0" fmla="*/ 472514809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1889875785 w 192"/>
                <a:gd name="T45" fmla="*/ 2147483647 h 154"/>
                <a:gd name="T46" fmla="*/ 1417360762 w 192"/>
                <a:gd name="T47" fmla="*/ 2147483647 h 154"/>
                <a:gd name="T48" fmla="*/ 944846168 w 192"/>
                <a:gd name="T49" fmla="*/ 2147483647 h 154"/>
                <a:gd name="T50" fmla="*/ 472514809 w 192"/>
                <a:gd name="T51" fmla="*/ 2147483647 h 154"/>
                <a:gd name="T52" fmla="*/ 0 w 192"/>
                <a:gd name="T53" fmla="*/ 2147483647 h 154"/>
                <a:gd name="T54" fmla="*/ 472514809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4" name="Freeform 348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439525" y="3064384"/>
              <a:ext cx="365755" cy="238547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1885953200 w 877"/>
                <a:gd name="T19" fmla="*/ 2147483647 h 469"/>
                <a:gd name="T20" fmla="*/ 580239701 w 877"/>
                <a:gd name="T21" fmla="*/ 2147483647 h 469"/>
                <a:gd name="T22" fmla="*/ 943063347 w 877"/>
                <a:gd name="T23" fmla="*/ 2147483647 h 469"/>
                <a:gd name="T24" fmla="*/ 943063347 w 877"/>
                <a:gd name="T25" fmla="*/ 2147483647 h 469"/>
                <a:gd name="T26" fmla="*/ 1668362400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1885953200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1710546849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5" name="Freeform 349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930246" y="3394680"/>
              <a:ext cx="45719" cy="61166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028153226 w 107"/>
                <a:gd name="T29" fmla="*/ 2147483647 h 123"/>
                <a:gd name="T30" fmla="*/ 1638186931 w 107"/>
                <a:gd name="T31" fmla="*/ 2147483647 h 123"/>
                <a:gd name="T32" fmla="*/ 1326177491 w 107"/>
                <a:gd name="T33" fmla="*/ 2147483647 h 123"/>
                <a:gd name="T34" fmla="*/ 1092124479 w 107"/>
                <a:gd name="T35" fmla="*/ 2147483647 h 123"/>
                <a:gd name="T36" fmla="*/ 858072107 w 107"/>
                <a:gd name="T37" fmla="*/ 2147483647 h 123"/>
                <a:gd name="T38" fmla="*/ 702158397 w 107"/>
                <a:gd name="T39" fmla="*/ 2147483647 h 123"/>
                <a:gd name="T40" fmla="*/ 312009547 w 107"/>
                <a:gd name="T41" fmla="*/ 2147483647 h 123"/>
                <a:gd name="T42" fmla="*/ 0 w 107"/>
                <a:gd name="T43" fmla="*/ 737919122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6" name="Freeform 350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451447" y="3408441"/>
              <a:ext cx="199641" cy="117745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7" name="Freeform 351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498690" y="3339630"/>
              <a:ext cx="216405" cy="12080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1400727908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8" name="Freeform 352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120743" y="3354922"/>
              <a:ext cx="329179" cy="218668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1998618913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1998618913 w 784"/>
                <a:gd name="T65" fmla="*/ 2147483647 h 430"/>
                <a:gd name="T66" fmla="*/ 518121497 w 784"/>
                <a:gd name="T67" fmla="*/ 2147483647 h 430"/>
                <a:gd name="T68" fmla="*/ 0 w 784"/>
                <a:gd name="T69" fmla="*/ 2147483647 h 430"/>
                <a:gd name="T70" fmla="*/ 222127842 w 784"/>
                <a:gd name="T71" fmla="*/ 2147483647 h 430"/>
                <a:gd name="T72" fmla="*/ 814291812 w 784"/>
                <a:gd name="T73" fmla="*/ 2147483647 h 430"/>
                <a:gd name="T74" fmla="*/ 1998618913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69" name="Freeform 353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361802" y="3246352"/>
              <a:ext cx="103631" cy="143740"/>
            </a:xfrm>
            <a:custGeom>
              <a:avLst/>
              <a:gdLst>
                <a:gd name="T0" fmla="*/ 2147483647 w 246"/>
                <a:gd name="T1" fmla="*/ 2147483647 h 284"/>
                <a:gd name="T2" fmla="*/ 2093183073 w 246"/>
                <a:gd name="T3" fmla="*/ 2147483647 h 284"/>
                <a:gd name="T4" fmla="*/ 1794156318 w 246"/>
                <a:gd name="T5" fmla="*/ 2147483647 h 284"/>
                <a:gd name="T6" fmla="*/ 2147483647 w 246"/>
                <a:gd name="T7" fmla="*/ 648351898 h 284"/>
                <a:gd name="T8" fmla="*/ 2147483647 w 246"/>
                <a:gd name="T9" fmla="*/ 129619039 h 284"/>
                <a:gd name="T10" fmla="*/ 2147483647 w 246"/>
                <a:gd name="T11" fmla="*/ 1555941810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1943757318 w 246"/>
                <a:gd name="T75" fmla="*/ 2147483647 h 284"/>
                <a:gd name="T76" fmla="*/ 1270816106 w 246"/>
                <a:gd name="T77" fmla="*/ 2147483647 h 284"/>
                <a:gd name="T78" fmla="*/ 822365913 w 246"/>
                <a:gd name="T79" fmla="*/ 2147483647 h 284"/>
                <a:gd name="T80" fmla="*/ 0 w 246"/>
                <a:gd name="T81" fmla="*/ 2147483647 h 284"/>
                <a:gd name="T82" fmla="*/ 74712061 w 246"/>
                <a:gd name="T83" fmla="*/ 2147483647 h 284"/>
                <a:gd name="T84" fmla="*/ 299026018 w 246"/>
                <a:gd name="T85" fmla="*/ 2147483647 h 284"/>
                <a:gd name="T86" fmla="*/ 112139203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0" name="Freeform 354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407521" y="3350334"/>
              <a:ext cx="65532" cy="58108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1102574180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1442831829 w 160"/>
                <a:gd name="T49" fmla="*/ 2147483647 h 117"/>
                <a:gd name="T50" fmla="*/ 687110745 w 160"/>
                <a:gd name="T51" fmla="*/ 2147483647 h 117"/>
                <a:gd name="T52" fmla="*/ 0 w 160"/>
                <a:gd name="T53" fmla="*/ 2147483647 h 117"/>
                <a:gd name="T54" fmla="*/ 893109484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1715032340 h 117"/>
                <a:gd name="T62" fmla="*/ 2147483647 w 160"/>
                <a:gd name="T63" fmla="*/ 735049371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1" name="Freeform 355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488293" y="3951289"/>
              <a:ext cx="394710" cy="588721"/>
            </a:xfrm>
            <a:custGeom>
              <a:avLst/>
              <a:gdLst>
                <a:gd name="T0" fmla="*/ 2147483647 w 943"/>
                <a:gd name="T1" fmla="*/ 633845548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93283790 w 943"/>
                <a:gd name="T85" fmla="*/ 2147483647 h 1172"/>
                <a:gd name="T86" fmla="*/ 1319953011 w 943"/>
                <a:gd name="T87" fmla="*/ 2147483647 h 1172"/>
                <a:gd name="T88" fmla="*/ 2126570522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2" name="Freeform 356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953106" y="4278527"/>
              <a:ext cx="234693" cy="415928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1047889148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1428976246 w 556"/>
                <a:gd name="T63" fmla="*/ 2147483647 h 819"/>
                <a:gd name="T64" fmla="*/ 150381215 w 556"/>
                <a:gd name="T65" fmla="*/ 2147483647 h 819"/>
                <a:gd name="T66" fmla="*/ 225571638 w 556"/>
                <a:gd name="T67" fmla="*/ 2147483647 h 819"/>
                <a:gd name="T68" fmla="*/ 2030678602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3" name="Freeform 357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960726" y="4266294"/>
              <a:ext cx="36575" cy="56578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397029428 h 97"/>
                <a:gd name="T4" fmla="*/ 2147483647 w 86"/>
                <a:gd name="T5" fmla="*/ 595373752 h 97"/>
                <a:gd name="T6" fmla="*/ 2147483647 w 86"/>
                <a:gd name="T7" fmla="*/ 595373752 h 97"/>
                <a:gd name="T8" fmla="*/ 2147483647 w 86"/>
                <a:gd name="T9" fmla="*/ 595373752 h 97"/>
                <a:gd name="T10" fmla="*/ 2147483647 w 86"/>
                <a:gd name="T11" fmla="*/ 595373752 h 97"/>
                <a:gd name="T12" fmla="*/ 2076954868 w 86"/>
                <a:gd name="T13" fmla="*/ 595373752 h 97"/>
                <a:gd name="T14" fmla="*/ 1769291606 w 86"/>
                <a:gd name="T15" fmla="*/ 793718222 h 97"/>
                <a:gd name="T16" fmla="*/ 1538498335 w 86"/>
                <a:gd name="T17" fmla="*/ 1190747504 h 97"/>
                <a:gd name="T18" fmla="*/ 1230834647 w 86"/>
                <a:gd name="T19" fmla="*/ 1786120819 h 97"/>
                <a:gd name="T20" fmla="*/ 1000042226 w 86"/>
                <a:gd name="T21" fmla="*/ 2147483647 h 97"/>
                <a:gd name="T22" fmla="*/ 846120008 w 86"/>
                <a:gd name="T23" fmla="*/ 2147483647 h 97"/>
                <a:gd name="T24" fmla="*/ 615327162 w 86"/>
                <a:gd name="T25" fmla="*/ 2147483647 h 97"/>
                <a:gd name="T26" fmla="*/ 307663368 w 86"/>
                <a:gd name="T27" fmla="*/ 2147483647 h 97"/>
                <a:gd name="T28" fmla="*/ 153922058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76870868 w 86"/>
                <a:gd name="T37" fmla="*/ 2147483647 h 97"/>
                <a:gd name="T38" fmla="*/ 230792953 w 86"/>
                <a:gd name="T39" fmla="*/ 2147483647 h 97"/>
                <a:gd name="T40" fmla="*/ 538456321 w 86"/>
                <a:gd name="T41" fmla="*/ 2147483647 h 97"/>
                <a:gd name="T42" fmla="*/ 769249167 w 86"/>
                <a:gd name="T43" fmla="*/ 2147483647 h 97"/>
                <a:gd name="T44" fmla="*/ 1000042226 w 86"/>
                <a:gd name="T45" fmla="*/ 2147483647 h 97"/>
                <a:gd name="T46" fmla="*/ 1384576329 w 86"/>
                <a:gd name="T47" fmla="*/ 2147483647 h 97"/>
                <a:gd name="T48" fmla="*/ 1615368750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4" name="Freeform 358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767180" y="4180662"/>
              <a:ext cx="348992" cy="362408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1530267764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1127164950 w 845"/>
                <a:gd name="T95" fmla="*/ 2147483647 h 720"/>
                <a:gd name="T96" fmla="*/ 352239073 w 845"/>
                <a:gd name="T97" fmla="*/ 2147483647 h 720"/>
                <a:gd name="T98" fmla="*/ 140895722 w 845"/>
                <a:gd name="T99" fmla="*/ 2147483647 h 720"/>
                <a:gd name="T100" fmla="*/ 1479403919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5" name="Line 359"/>
            <p:cNvSpPr>
              <a:spLocks noChangeShapeType="1"/>
            </p:cNvSpPr>
            <p:nvPr>
              <p:custDataLst>
                <p:tags r:id="rId261"/>
              </p:custDataLst>
            </p:nvPr>
          </p:nvSpPr>
          <p:spPr bwMode="auto">
            <a:xfrm flipH="1">
              <a:off x="2752750" y="4680693"/>
              <a:ext cx="4572" cy="764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376" name="Freeform 360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2752750" y="4688339"/>
              <a:ext cx="12192" cy="56578"/>
            </a:xfrm>
            <a:custGeom>
              <a:avLst/>
              <a:gdLst>
                <a:gd name="T0" fmla="*/ 0 w 33"/>
                <a:gd name="T1" fmla="*/ 0 h 6"/>
                <a:gd name="T2" fmla="*/ 352980127 w 33"/>
                <a:gd name="T3" fmla="*/ 2147483647 h 6"/>
                <a:gd name="T4" fmla="*/ 756464297 w 33"/>
                <a:gd name="T5" fmla="*/ 2147483647 h 6"/>
                <a:gd name="T6" fmla="*/ 1159811493 w 33"/>
                <a:gd name="T7" fmla="*/ 2147483647 h 6"/>
                <a:gd name="T8" fmla="*/ 1664166591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77" name="Freeform 361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2760370" y="4676106"/>
              <a:ext cx="4571" cy="55049"/>
            </a:xfrm>
            <a:custGeom>
              <a:avLst/>
              <a:gdLst>
                <a:gd name="T0" fmla="*/ 565128211 w 13"/>
                <a:gd name="T1" fmla="*/ 2147483647 h 30"/>
                <a:gd name="T2" fmla="*/ 565128211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378" name="Group 362"/>
            <p:cNvGrpSpPr>
              <a:grpSpLocks/>
            </p:cNvGrpSpPr>
            <p:nvPr>
              <p:custDataLst>
                <p:tags r:id="rId264"/>
              </p:custDataLst>
            </p:nvPr>
          </p:nvGrpSpPr>
          <p:grpSpPr bwMode="auto">
            <a:xfrm>
              <a:off x="2752750" y="4613410"/>
              <a:ext cx="400807" cy="194202"/>
              <a:chOff x="912" y="2626"/>
              <a:chExt cx="311" cy="127"/>
            </a:xfrm>
          </p:grpSpPr>
          <p:sp>
            <p:nvSpPr>
              <p:cNvPr id="4517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 w 352"/>
                  <a:gd name="T1" fmla="*/ 3 h 387"/>
                  <a:gd name="T2" fmla="*/ 10 w 352"/>
                  <a:gd name="T3" fmla="*/ 3 h 387"/>
                  <a:gd name="T4" fmla="*/ 9 w 352"/>
                  <a:gd name="T5" fmla="*/ 3 h 387"/>
                  <a:gd name="T6" fmla="*/ 8 w 352"/>
                  <a:gd name="T7" fmla="*/ 3 h 387"/>
                  <a:gd name="T8" fmla="*/ 7 w 352"/>
                  <a:gd name="T9" fmla="*/ 2 h 387"/>
                  <a:gd name="T10" fmla="*/ 5 w 352"/>
                  <a:gd name="T11" fmla="*/ 1 h 387"/>
                  <a:gd name="T12" fmla="*/ 4 w 352"/>
                  <a:gd name="T13" fmla="*/ 0 h 387"/>
                  <a:gd name="T14" fmla="*/ 4 w 352"/>
                  <a:gd name="T15" fmla="*/ 1 h 387"/>
                  <a:gd name="T16" fmla="*/ 4 w 352"/>
                  <a:gd name="T17" fmla="*/ 1 h 387"/>
                  <a:gd name="T18" fmla="*/ 4 w 352"/>
                  <a:gd name="T19" fmla="*/ 1 h 387"/>
                  <a:gd name="T20" fmla="*/ 3 w 352"/>
                  <a:gd name="T21" fmla="*/ 2 h 387"/>
                  <a:gd name="T22" fmla="*/ 2 w 352"/>
                  <a:gd name="T23" fmla="*/ 4 h 387"/>
                  <a:gd name="T24" fmla="*/ 1 w 352"/>
                  <a:gd name="T25" fmla="*/ 5 h 387"/>
                  <a:gd name="T26" fmla="*/ 1 w 352"/>
                  <a:gd name="T27" fmla="*/ 6 h 387"/>
                  <a:gd name="T28" fmla="*/ 0 w 352"/>
                  <a:gd name="T29" fmla="*/ 6 h 387"/>
                  <a:gd name="T30" fmla="*/ 0 w 352"/>
                  <a:gd name="T31" fmla="*/ 7 h 387"/>
                  <a:gd name="T32" fmla="*/ 0 w 352"/>
                  <a:gd name="T33" fmla="*/ 8 h 387"/>
                  <a:gd name="T34" fmla="*/ 0 w 352"/>
                  <a:gd name="T35" fmla="*/ 8 h 387"/>
                  <a:gd name="T36" fmla="*/ 0 w 352"/>
                  <a:gd name="T37" fmla="*/ 8 h 387"/>
                  <a:gd name="T38" fmla="*/ 1 w 352"/>
                  <a:gd name="T39" fmla="*/ 9 h 387"/>
                  <a:gd name="T40" fmla="*/ 1 w 352"/>
                  <a:gd name="T41" fmla="*/ 9 h 387"/>
                  <a:gd name="T42" fmla="*/ 2 w 352"/>
                  <a:gd name="T43" fmla="*/ 9 h 387"/>
                  <a:gd name="T44" fmla="*/ 2 w 352"/>
                  <a:gd name="T45" fmla="*/ 9 h 387"/>
                  <a:gd name="T46" fmla="*/ 2 w 352"/>
                  <a:gd name="T47" fmla="*/ 8 h 387"/>
                  <a:gd name="T48" fmla="*/ 3 w 352"/>
                  <a:gd name="T49" fmla="*/ 8 h 387"/>
                  <a:gd name="T50" fmla="*/ 3 w 352"/>
                  <a:gd name="T51" fmla="*/ 9 h 387"/>
                  <a:gd name="T52" fmla="*/ 3 w 352"/>
                  <a:gd name="T53" fmla="*/ 9 h 387"/>
                  <a:gd name="T54" fmla="*/ 3 w 352"/>
                  <a:gd name="T55" fmla="*/ 10 h 387"/>
                  <a:gd name="T56" fmla="*/ 2 w 352"/>
                  <a:gd name="T57" fmla="*/ 10 h 387"/>
                  <a:gd name="T58" fmla="*/ 2 w 352"/>
                  <a:gd name="T59" fmla="*/ 11 h 387"/>
                  <a:gd name="T60" fmla="*/ 3 w 352"/>
                  <a:gd name="T61" fmla="*/ 12 h 387"/>
                  <a:gd name="T62" fmla="*/ 3 w 352"/>
                  <a:gd name="T63" fmla="*/ 12 h 387"/>
                  <a:gd name="T64" fmla="*/ 4 w 352"/>
                  <a:gd name="T65" fmla="*/ 13 h 387"/>
                  <a:gd name="T66" fmla="*/ 5 w 352"/>
                  <a:gd name="T67" fmla="*/ 13 h 387"/>
                  <a:gd name="T68" fmla="*/ 5 w 352"/>
                  <a:gd name="T69" fmla="*/ 14 h 387"/>
                  <a:gd name="T70" fmla="*/ 5 w 352"/>
                  <a:gd name="T71" fmla="*/ 13 h 387"/>
                  <a:gd name="T72" fmla="*/ 6 w 352"/>
                  <a:gd name="T73" fmla="*/ 13 h 387"/>
                  <a:gd name="T74" fmla="*/ 6 w 352"/>
                  <a:gd name="T75" fmla="*/ 12 h 387"/>
                  <a:gd name="T76" fmla="*/ 6 w 352"/>
                  <a:gd name="T77" fmla="*/ 12 h 387"/>
                  <a:gd name="T78" fmla="*/ 6 w 352"/>
                  <a:gd name="T79" fmla="*/ 11 h 387"/>
                  <a:gd name="T80" fmla="*/ 6 w 352"/>
                  <a:gd name="T81" fmla="*/ 11 h 387"/>
                  <a:gd name="T82" fmla="*/ 7 w 352"/>
                  <a:gd name="T83" fmla="*/ 10 h 387"/>
                  <a:gd name="T84" fmla="*/ 8 w 352"/>
                  <a:gd name="T85" fmla="*/ 9 h 387"/>
                  <a:gd name="T86" fmla="*/ 9 w 352"/>
                  <a:gd name="T87" fmla="*/ 9 h 387"/>
                  <a:gd name="T88" fmla="*/ 10 w 352"/>
                  <a:gd name="T89" fmla="*/ 8 h 387"/>
                  <a:gd name="T90" fmla="*/ 11 w 352"/>
                  <a:gd name="T91" fmla="*/ 8 h 387"/>
                  <a:gd name="T92" fmla="*/ 11 w 352"/>
                  <a:gd name="T93" fmla="*/ 7 h 387"/>
                  <a:gd name="T94" fmla="*/ 12 w 352"/>
                  <a:gd name="T95" fmla="*/ 7 h 387"/>
                  <a:gd name="T96" fmla="*/ 12 w 352"/>
                  <a:gd name="T97" fmla="*/ 6 h 387"/>
                  <a:gd name="T98" fmla="*/ 12 w 352"/>
                  <a:gd name="T99" fmla="*/ 5 h 387"/>
                  <a:gd name="T100" fmla="*/ 11 w 352"/>
                  <a:gd name="T101" fmla="*/ 4 h 387"/>
                  <a:gd name="T102" fmla="*/ 11 w 352"/>
                  <a:gd name="T103" fmla="*/ 3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52"/>
                  <a:gd name="T157" fmla="*/ 0 h 387"/>
                  <a:gd name="T158" fmla="*/ 352 w 352"/>
                  <a:gd name="T159" fmla="*/ 387 h 38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8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 w 52"/>
                  <a:gd name="T1" fmla="*/ 0 h 78"/>
                  <a:gd name="T2" fmla="*/ 1 w 52"/>
                  <a:gd name="T3" fmla="*/ 0 h 78"/>
                  <a:gd name="T4" fmla="*/ 1 w 52"/>
                  <a:gd name="T5" fmla="*/ 0 h 78"/>
                  <a:gd name="T6" fmla="*/ 1 w 52"/>
                  <a:gd name="T7" fmla="*/ 0 h 78"/>
                  <a:gd name="T8" fmla="*/ 1 w 52"/>
                  <a:gd name="T9" fmla="*/ 0 h 78"/>
                  <a:gd name="T10" fmla="*/ 1 w 52"/>
                  <a:gd name="T11" fmla="*/ 0 h 78"/>
                  <a:gd name="T12" fmla="*/ 2 w 52"/>
                  <a:gd name="T13" fmla="*/ 1 h 78"/>
                  <a:gd name="T14" fmla="*/ 2 w 52"/>
                  <a:gd name="T15" fmla="*/ 1 h 78"/>
                  <a:gd name="T16" fmla="*/ 2 w 52"/>
                  <a:gd name="T17" fmla="*/ 1 h 78"/>
                  <a:gd name="T18" fmla="*/ 2 w 52"/>
                  <a:gd name="T19" fmla="*/ 1 h 78"/>
                  <a:gd name="T20" fmla="*/ 2 w 52"/>
                  <a:gd name="T21" fmla="*/ 2 h 78"/>
                  <a:gd name="T22" fmla="*/ 2 w 52"/>
                  <a:gd name="T23" fmla="*/ 2 h 78"/>
                  <a:gd name="T24" fmla="*/ 2 w 52"/>
                  <a:gd name="T25" fmla="*/ 2 h 78"/>
                  <a:gd name="T26" fmla="*/ 2 w 52"/>
                  <a:gd name="T27" fmla="*/ 2 h 78"/>
                  <a:gd name="T28" fmla="*/ 2 w 52"/>
                  <a:gd name="T29" fmla="*/ 2 h 78"/>
                  <a:gd name="T30" fmla="*/ 1 w 52"/>
                  <a:gd name="T31" fmla="*/ 2 h 78"/>
                  <a:gd name="T32" fmla="*/ 1 w 52"/>
                  <a:gd name="T33" fmla="*/ 3 h 78"/>
                  <a:gd name="T34" fmla="*/ 1 w 52"/>
                  <a:gd name="T35" fmla="*/ 3 h 78"/>
                  <a:gd name="T36" fmla="*/ 1 w 52"/>
                  <a:gd name="T37" fmla="*/ 3 h 78"/>
                  <a:gd name="T38" fmla="*/ 0 w 52"/>
                  <a:gd name="T39" fmla="*/ 3 h 78"/>
                  <a:gd name="T40" fmla="*/ 0 w 52"/>
                  <a:gd name="T41" fmla="*/ 3 h 78"/>
                  <a:gd name="T42" fmla="*/ 0 w 52"/>
                  <a:gd name="T43" fmla="*/ 3 h 78"/>
                  <a:gd name="T44" fmla="*/ 0 w 52"/>
                  <a:gd name="T45" fmla="*/ 3 h 78"/>
                  <a:gd name="T46" fmla="*/ 0 w 52"/>
                  <a:gd name="T47" fmla="*/ 3 h 78"/>
                  <a:gd name="T48" fmla="*/ 0 w 52"/>
                  <a:gd name="T49" fmla="*/ 3 h 78"/>
                  <a:gd name="T50" fmla="*/ 0 w 52"/>
                  <a:gd name="T51" fmla="*/ 3 h 78"/>
                  <a:gd name="T52" fmla="*/ 0 w 52"/>
                  <a:gd name="T53" fmla="*/ 2 h 78"/>
                  <a:gd name="T54" fmla="*/ 0 w 52"/>
                  <a:gd name="T55" fmla="*/ 2 h 78"/>
                  <a:gd name="T56" fmla="*/ 0 w 52"/>
                  <a:gd name="T57" fmla="*/ 2 h 78"/>
                  <a:gd name="T58" fmla="*/ 1 w 52"/>
                  <a:gd name="T59" fmla="*/ 2 h 78"/>
                  <a:gd name="T60" fmla="*/ 1 w 52"/>
                  <a:gd name="T61" fmla="*/ 2 h 78"/>
                  <a:gd name="T62" fmla="*/ 1 w 52"/>
                  <a:gd name="T63" fmla="*/ 1 h 78"/>
                  <a:gd name="T64" fmla="*/ 1 w 52"/>
                  <a:gd name="T65" fmla="*/ 1 h 78"/>
                  <a:gd name="T66" fmla="*/ 1 w 52"/>
                  <a:gd name="T67" fmla="*/ 0 h 78"/>
                  <a:gd name="T68" fmla="*/ 1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"/>
                  <a:gd name="T106" fmla="*/ 0 h 78"/>
                  <a:gd name="T107" fmla="*/ 52 w 52"/>
                  <a:gd name="T108" fmla="*/ 78 h 7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9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0 w 33"/>
                  <a:gd name="T1" fmla="*/ 0 h 30"/>
                  <a:gd name="T2" fmla="*/ 0 w 33"/>
                  <a:gd name="T3" fmla="*/ 1 h 30"/>
                  <a:gd name="T4" fmla="*/ 0 w 33"/>
                  <a:gd name="T5" fmla="*/ 1 h 30"/>
                  <a:gd name="T6" fmla="*/ 0 w 33"/>
                  <a:gd name="T7" fmla="*/ 1 h 30"/>
                  <a:gd name="T8" fmla="*/ 1 w 33"/>
                  <a:gd name="T9" fmla="*/ 1 h 30"/>
                  <a:gd name="T10" fmla="*/ 1 w 33"/>
                  <a:gd name="T11" fmla="*/ 1 h 30"/>
                  <a:gd name="T12" fmla="*/ 1 w 33"/>
                  <a:gd name="T13" fmla="*/ 0 h 30"/>
                  <a:gd name="T14" fmla="*/ 0 w 33"/>
                  <a:gd name="T15" fmla="*/ 0 h 30"/>
                  <a:gd name="T16" fmla="*/ 0 w 33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30"/>
                  <a:gd name="T29" fmla="*/ 33 w 33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379" name="Freeform 366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6254853" y="5304585"/>
              <a:ext cx="18288" cy="56579"/>
            </a:xfrm>
            <a:custGeom>
              <a:avLst/>
              <a:gdLst>
                <a:gd name="T0" fmla="*/ 765800218 w 47"/>
                <a:gd name="T1" fmla="*/ 0 h 28"/>
                <a:gd name="T2" fmla="*/ 1472855509 w 47"/>
                <a:gd name="T3" fmla="*/ 0 h 28"/>
                <a:gd name="T4" fmla="*/ 1826232083 w 47"/>
                <a:gd name="T5" fmla="*/ 2147483647 h 28"/>
                <a:gd name="T6" fmla="*/ 1944174859 w 47"/>
                <a:gd name="T7" fmla="*/ 2147483647 h 28"/>
                <a:gd name="T8" fmla="*/ 1944174859 w 47"/>
                <a:gd name="T9" fmla="*/ 2147483647 h 28"/>
                <a:gd name="T10" fmla="*/ 1885128763 w 47"/>
                <a:gd name="T11" fmla="*/ 2147483647 h 28"/>
                <a:gd name="T12" fmla="*/ 1944174859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1944174859 w 47"/>
                <a:gd name="T23" fmla="*/ 2147483647 h 28"/>
                <a:gd name="T24" fmla="*/ 1649543601 w 47"/>
                <a:gd name="T25" fmla="*/ 2147483647 h 28"/>
                <a:gd name="T26" fmla="*/ 942639868 w 47"/>
                <a:gd name="T27" fmla="*/ 2147483647 h 28"/>
                <a:gd name="T28" fmla="*/ 0 w 47"/>
                <a:gd name="T29" fmla="*/ 2147483647 h 28"/>
                <a:gd name="T30" fmla="*/ 58895926 w 47"/>
                <a:gd name="T31" fmla="*/ 2147483647 h 28"/>
                <a:gd name="T32" fmla="*/ 117792240 w 47"/>
                <a:gd name="T33" fmla="*/ 2147483647 h 28"/>
                <a:gd name="T34" fmla="*/ 235584480 w 47"/>
                <a:gd name="T35" fmla="*/ 2147483647 h 28"/>
                <a:gd name="T36" fmla="*/ 353527645 w 47"/>
                <a:gd name="T37" fmla="*/ 2147483647 h 28"/>
                <a:gd name="T38" fmla="*/ 530216224 w 47"/>
                <a:gd name="T39" fmla="*/ 2147483647 h 28"/>
                <a:gd name="T40" fmla="*/ 648008027 w 47"/>
                <a:gd name="T41" fmla="*/ 2147483647 h 28"/>
                <a:gd name="T42" fmla="*/ 765800218 w 47"/>
                <a:gd name="T43" fmla="*/ 2147483647 h 28"/>
                <a:gd name="T44" fmla="*/ 765800218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0" name="Freeform 367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227422" y="5330581"/>
              <a:ext cx="22860" cy="55049"/>
            </a:xfrm>
            <a:custGeom>
              <a:avLst/>
              <a:gdLst>
                <a:gd name="T0" fmla="*/ 1043112283 w 53"/>
                <a:gd name="T1" fmla="*/ 0 h 33"/>
                <a:gd name="T2" fmla="*/ 2086224565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1604759892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160550532 w 53"/>
                <a:gd name="T37" fmla="*/ 2147483647 h 33"/>
                <a:gd name="T38" fmla="*/ 320914734 w 53"/>
                <a:gd name="T39" fmla="*/ 2147483647 h 33"/>
                <a:gd name="T40" fmla="*/ 561647394 w 53"/>
                <a:gd name="T41" fmla="*/ 2147483647 h 33"/>
                <a:gd name="T42" fmla="*/ 722197872 w 53"/>
                <a:gd name="T43" fmla="*/ 2147483647 h 33"/>
                <a:gd name="T44" fmla="*/ 882748351 w 53"/>
                <a:gd name="T45" fmla="*/ 2147483647 h 33"/>
                <a:gd name="T46" fmla="*/ 962930640 w 53"/>
                <a:gd name="T47" fmla="*/ 2147483647 h 33"/>
                <a:gd name="T48" fmla="*/ 1043112283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381" name="Group 368"/>
            <p:cNvGrpSpPr>
              <a:grpSpLocks/>
            </p:cNvGrpSpPr>
            <p:nvPr>
              <p:custDataLst>
                <p:tags r:id="rId267"/>
              </p:custDataLst>
            </p:nvPr>
          </p:nvGrpSpPr>
          <p:grpSpPr bwMode="auto">
            <a:xfrm>
              <a:off x="6075329" y="4841339"/>
              <a:ext cx="161553" cy="99396"/>
              <a:chOff x="3481" y="2773"/>
              <a:chExt cx="125" cy="65"/>
            </a:xfrm>
          </p:grpSpPr>
          <p:sp>
            <p:nvSpPr>
              <p:cNvPr id="4506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 w 13"/>
                  <a:gd name="T1" fmla="*/ 0 h 18"/>
                  <a:gd name="T2" fmla="*/ 1 w 13"/>
                  <a:gd name="T3" fmla="*/ 0 h 18"/>
                  <a:gd name="T4" fmla="*/ 0 w 13"/>
                  <a:gd name="T5" fmla="*/ 1 h 18"/>
                  <a:gd name="T6" fmla="*/ 0 w 13"/>
                  <a:gd name="T7" fmla="*/ 1 h 18"/>
                  <a:gd name="T8" fmla="*/ 0 w 13"/>
                  <a:gd name="T9" fmla="*/ 1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18"/>
                  <a:gd name="T23" fmla="*/ 13 w 13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7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8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 w 14"/>
                  <a:gd name="T1" fmla="*/ 1 h 19"/>
                  <a:gd name="T2" fmla="*/ 0 w 14"/>
                  <a:gd name="T3" fmla="*/ 0 h 19"/>
                  <a:gd name="T4" fmla="*/ 1 w 14"/>
                  <a:gd name="T5" fmla="*/ 1 h 19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19"/>
                  <a:gd name="T11" fmla="*/ 14 w 1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9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1 h 18"/>
                  <a:gd name="T4" fmla="*/ 0 w 7"/>
                  <a:gd name="T5" fmla="*/ 1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8"/>
                  <a:gd name="T17" fmla="*/ 7 w 7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0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1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1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12"/>
                  <a:gd name="T23" fmla="*/ 20 w 20"/>
                  <a:gd name="T24" fmla="*/ 12 h 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1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2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 h 18"/>
                  <a:gd name="T4" fmla="*/ 1 w 20"/>
                  <a:gd name="T5" fmla="*/ 1 h 18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8"/>
                  <a:gd name="T11" fmla="*/ 20 w 20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3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2"/>
                  <a:gd name="T11" fmla="*/ 7 w 7"/>
                  <a:gd name="T12" fmla="*/ 12 h 1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4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 h 18"/>
                  <a:gd name="T4" fmla="*/ 1 w 20"/>
                  <a:gd name="T5" fmla="*/ 1 h 18"/>
                  <a:gd name="T6" fmla="*/ 1 w 20"/>
                  <a:gd name="T7" fmla="*/ 0 h 18"/>
                  <a:gd name="T8" fmla="*/ 1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8"/>
                  <a:gd name="T20" fmla="*/ 20 w 2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5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1 h 18"/>
                  <a:gd name="T4" fmla="*/ 0 w 7"/>
                  <a:gd name="T5" fmla="*/ 1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8"/>
                  <a:gd name="T20" fmla="*/ 7 w 7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6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 w 13"/>
                  <a:gd name="T1" fmla="*/ 0 h 18"/>
                  <a:gd name="T2" fmla="*/ 1 w 13"/>
                  <a:gd name="T3" fmla="*/ 0 h 18"/>
                  <a:gd name="T4" fmla="*/ 0 w 13"/>
                  <a:gd name="T5" fmla="*/ 1 h 18"/>
                  <a:gd name="T6" fmla="*/ 0 w 13"/>
                  <a:gd name="T7" fmla="*/ 1 h 18"/>
                  <a:gd name="T8" fmla="*/ 0 w 13"/>
                  <a:gd name="T9" fmla="*/ 1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1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3"/>
                  <a:gd name="T28" fmla="*/ 0 h 18"/>
                  <a:gd name="T29" fmla="*/ 13 w 13"/>
                  <a:gd name="T30" fmla="*/ 18 h 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382" name="Freeform 38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238360" y="4833607"/>
              <a:ext cx="306319" cy="365467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1953487363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1802329622 w 736"/>
                <a:gd name="T95" fmla="*/ 2147483647 h 721"/>
                <a:gd name="T96" fmla="*/ 792990332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3" name="Freeform 381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249027" y="4807612"/>
              <a:ext cx="15240" cy="58108"/>
            </a:xfrm>
            <a:custGeom>
              <a:avLst/>
              <a:gdLst>
                <a:gd name="T0" fmla="*/ 0 w 39"/>
                <a:gd name="T1" fmla="*/ 2147483647 h 31"/>
                <a:gd name="T2" fmla="*/ 716013020 w 39"/>
                <a:gd name="T3" fmla="*/ 2147483647 h 31"/>
                <a:gd name="T4" fmla="*/ 1312766443 w 39"/>
                <a:gd name="T5" fmla="*/ 2147483647 h 31"/>
                <a:gd name="T6" fmla="*/ 1551437255 w 39"/>
                <a:gd name="T7" fmla="*/ 2147483647 h 31"/>
                <a:gd name="T8" fmla="*/ 1790109238 w 39"/>
                <a:gd name="T9" fmla="*/ 2147483647 h 31"/>
                <a:gd name="T10" fmla="*/ 2088484875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1551437255 w 39"/>
                <a:gd name="T17" fmla="*/ 0 h 31"/>
                <a:gd name="T18" fmla="*/ 1014390025 w 39"/>
                <a:gd name="T19" fmla="*/ 0 h 31"/>
                <a:gd name="T20" fmla="*/ 477342209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4" name="Freeform 38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346562" y="5330581"/>
              <a:ext cx="380995" cy="383816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1652359679 w 903"/>
                <a:gd name="T49" fmla="*/ 2147483647 h 759"/>
                <a:gd name="T50" fmla="*/ 901303553 w 903"/>
                <a:gd name="T51" fmla="*/ 2147483647 h 759"/>
                <a:gd name="T52" fmla="*/ 75105633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1422563736 h 759"/>
                <a:gd name="T110" fmla="*/ 2147483647 w 903"/>
                <a:gd name="T111" fmla="*/ 387925210 h 759"/>
                <a:gd name="T112" fmla="*/ 2147483647 w 903"/>
                <a:gd name="T113" fmla="*/ 775850925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5" name="Freeform 38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488293" y="3951289"/>
              <a:ext cx="394710" cy="588721"/>
            </a:xfrm>
            <a:custGeom>
              <a:avLst/>
              <a:gdLst>
                <a:gd name="T0" fmla="*/ 2147483647 w 943"/>
                <a:gd name="T1" fmla="*/ 633845548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93283790 w 943"/>
                <a:gd name="T85" fmla="*/ 2147483647 h 1172"/>
                <a:gd name="T86" fmla="*/ 1319953011 w 943"/>
                <a:gd name="T87" fmla="*/ 2147483647 h 1172"/>
                <a:gd name="T88" fmla="*/ 2126570522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386" name="Group 384"/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4320995" y="4145449"/>
              <a:ext cx="77724" cy="79515"/>
              <a:chOff x="2352" y="2343"/>
              <a:chExt cx="65" cy="53"/>
            </a:xfrm>
          </p:grpSpPr>
          <p:sp>
            <p:nvSpPr>
              <p:cNvPr id="4500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 w 51"/>
                  <a:gd name="T1" fmla="*/ 0 h 33"/>
                  <a:gd name="T2" fmla="*/ 0 w 51"/>
                  <a:gd name="T3" fmla="*/ 0 h 33"/>
                  <a:gd name="T4" fmla="*/ 0 w 51"/>
                  <a:gd name="T5" fmla="*/ 1 h 33"/>
                  <a:gd name="T6" fmla="*/ 0 w 51"/>
                  <a:gd name="T7" fmla="*/ 1 h 33"/>
                  <a:gd name="T8" fmla="*/ 1 w 51"/>
                  <a:gd name="T9" fmla="*/ 1 h 33"/>
                  <a:gd name="T10" fmla="*/ 2 w 51"/>
                  <a:gd name="T11" fmla="*/ 1 h 33"/>
                  <a:gd name="T12" fmla="*/ 2 w 51"/>
                  <a:gd name="T13" fmla="*/ 0 h 33"/>
                  <a:gd name="T14" fmla="*/ 1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1"/>
                  <a:gd name="T25" fmla="*/ 0 h 33"/>
                  <a:gd name="T26" fmla="*/ 51 w 51"/>
                  <a:gd name="T27" fmla="*/ 33 h 3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1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 w 61"/>
                  <a:gd name="T1" fmla="*/ 0 h 20"/>
                  <a:gd name="T2" fmla="*/ 2 w 61"/>
                  <a:gd name="T3" fmla="*/ 0 h 20"/>
                  <a:gd name="T4" fmla="*/ 0 w 61"/>
                  <a:gd name="T5" fmla="*/ 0 h 20"/>
                  <a:gd name="T6" fmla="*/ 0 w 61"/>
                  <a:gd name="T7" fmla="*/ 1 h 20"/>
                  <a:gd name="T8" fmla="*/ 0 w 61"/>
                  <a:gd name="T9" fmla="*/ 1 h 20"/>
                  <a:gd name="T10" fmla="*/ 1 w 61"/>
                  <a:gd name="T11" fmla="*/ 1 h 20"/>
                  <a:gd name="T12" fmla="*/ 2 w 61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1"/>
                  <a:gd name="T22" fmla="*/ 0 h 20"/>
                  <a:gd name="T23" fmla="*/ 61 w 61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2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0 w 15"/>
                  <a:gd name="T1" fmla="*/ 0 h 36"/>
                  <a:gd name="T2" fmla="*/ 0 w 15"/>
                  <a:gd name="T3" fmla="*/ 1 h 36"/>
                  <a:gd name="T4" fmla="*/ 0 w 15"/>
                  <a:gd name="T5" fmla="*/ 1 h 36"/>
                  <a:gd name="T6" fmla="*/ 0 w 15"/>
                  <a:gd name="T7" fmla="*/ 1 h 36"/>
                  <a:gd name="T8" fmla="*/ 1 w 15"/>
                  <a:gd name="T9" fmla="*/ 1 h 36"/>
                  <a:gd name="T10" fmla="*/ 0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36"/>
                  <a:gd name="T20" fmla="*/ 15 w 15"/>
                  <a:gd name="T21" fmla="*/ 36 h 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3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0 w 37"/>
                  <a:gd name="T1" fmla="*/ 0 h 33"/>
                  <a:gd name="T2" fmla="*/ 1 w 37"/>
                  <a:gd name="T3" fmla="*/ 0 h 33"/>
                  <a:gd name="T4" fmla="*/ 1 w 37"/>
                  <a:gd name="T5" fmla="*/ 0 h 33"/>
                  <a:gd name="T6" fmla="*/ 1 w 37"/>
                  <a:gd name="T7" fmla="*/ 1 h 33"/>
                  <a:gd name="T8" fmla="*/ 1 w 37"/>
                  <a:gd name="T9" fmla="*/ 1 h 33"/>
                  <a:gd name="T10" fmla="*/ 0 w 37"/>
                  <a:gd name="T11" fmla="*/ 1 h 33"/>
                  <a:gd name="T12" fmla="*/ 0 w 37"/>
                  <a:gd name="T13" fmla="*/ 1 h 33"/>
                  <a:gd name="T14" fmla="*/ 0 w 37"/>
                  <a:gd name="T15" fmla="*/ 1 h 33"/>
                  <a:gd name="T16" fmla="*/ 0 w 37"/>
                  <a:gd name="T17" fmla="*/ 0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33"/>
                  <a:gd name="T29" fmla="*/ 37 w 37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4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0 w 49"/>
                  <a:gd name="T1" fmla="*/ 0 h 54"/>
                  <a:gd name="T2" fmla="*/ 0 w 49"/>
                  <a:gd name="T3" fmla="*/ 0 h 54"/>
                  <a:gd name="T4" fmla="*/ 0 w 49"/>
                  <a:gd name="T5" fmla="*/ 2 h 54"/>
                  <a:gd name="T6" fmla="*/ 1 w 49"/>
                  <a:gd name="T7" fmla="*/ 2 h 54"/>
                  <a:gd name="T8" fmla="*/ 2 w 49"/>
                  <a:gd name="T9" fmla="*/ 2 h 54"/>
                  <a:gd name="T10" fmla="*/ 2 w 49"/>
                  <a:gd name="T11" fmla="*/ 1 h 54"/>
                  <a:gd name="T12" fmla="*/ 1 w 49"/>
                  <a:gd name="T13" fmla="*/ 1 h 54"/>
                  <a:gd name="T14" fmla="*/ 1 w 49"/>
                  <a:gd name="T15" fmla="*/ 0 h 54"/>
                  <a:gd name="T16" fmla="*/ 0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9"/>
                  <a:gd name="T28" fmla="*/ 0 h 54"/>
                  <a:gd name="T29" fmla="*/ 49 w 4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5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 w 26"/>
                  <a:gd name="T1" fmla="*/ 0 h 22"/>
                  <a:gd name="T2" fmla="*/ 0 w 26"/>
                  <a:gd name="T3" fmla="*/ 0 h 22"/>
                  <a:gd name="T4" fmla="*/ 0 w 26"/>
                  <a:gd name="T5" fmla="*/ 1 h 22"/>
                  <a:gd name="T6" fmla="*/ 0 w 26"/>
                  <a:gd name="T7" fmla="*/ 1 h 22"/>
                  <a:gd name="T8" fmla="*/ 1 w 26"/>
                  <a:gd name="T9" fmla="*/ 1 h 22"/>
                  <a:gd name="T10" fmla="*/ 1 w 26"/>
                  <a:gd name="T11" fmla="*/ 0 h 22"/>
                  <a:gd name="T12" fmla="*/ 1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22"/>
                  <a:gd name="T23" fmla="*/ 26 w 26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387" name="Freeform 434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680314" y="4535424"/>
              <a:ext cx="121918" cy="152915"/>
            </a:xfrm>
            <a:custGeom>
              <a:avLst/>
              <a:gdLst>
                <a:gd name="T0" fmla="*/ 2147483647 w 292"/>
                <a:gd name="T1" fmla="*/ 1223821453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436694332 w 292"/>
                <a:gd name="T25" fmla="*/ 2147483647 h 308"/>
                <a:gd name="T26" fmla="*/ 655128813 w 292"/>
                <a:gd name="T27" fmla="*/ 2147483647 h 308"/>
                <a:gd name="T28" fmla="*/ 800693416 w 292"/>
                <a:gd name="T29" fmla="*/ 2147483647 h 308"/>
                <a:gd name="T30" fmla="*/ 509564210 w 292"/>
                <a:gd name="T31" fmla="*/ 2147483647 h 308"/>
                <a:gd name="T32" fmla="*/ 145564655 w 292"/>
                <a:gd name="T33" fmla="*/ 2147483647 h 308"/>
                <a:gd name="T34" fmla="*/ 0 w 292"/>
                <a:gd name="T35" fmla="*/ 2147483647 h 308"/>
                <a:gd name="T36" fmla="*/ 218434429 w 292"/>
                <a:gd name="T37" fmla="*/ 2147483647 h 308"/>
                <a:gd name="T38" fmla="*/ 873388664 w 292"/>
                <a:gd name="T39" fmla="*/ 2147483647 h 308"/>
                <a:gd name="T40" fmla="*/ 189251645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1468585645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8" name="Freeform 435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782420" y="4680693"/>
              <a:ext cx="6096" cy="55049"/>
            </a:xfrm>
            <a:custGeom>
              <a:avLst/>
              <a:gdLst>
                <a:gd name="T0" fmla="*/ 908174648 w 14"/>
                <a:gd name="T1" fmla="*/ 0 h 7"/>
                <a:gd name="T2" fmla="*/ 1073314154 w 14"/>
                <a:gd name="T3" fmla="*/ 2147483647 h 7"/>
                <a:gd name="T4" fmla="*/ 1155789529 w 14"/>
                <a:gd name="T5" fmla="*/ 2147483647 h 7"/>
                <a:gd name="T6" fmla="*/ 0 w 14"/>
                <a:gd name="T7" fmla="*/ 2147483647 h 7"/>
                <a:gd name="T8" fmla="*/ 908174648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89" name="Freeform 436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293223" y="3945173"/>
              <a:ext cx="239264" cy="481681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1187305302 w 581"/>
                <a:gd name="T19" fmla="*/ 2147483647 h 955"/>
                <a:gd name="T20" fmla="*/ 139742935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64158959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0" name="Freeform 437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982332" y="3350334"/>
              <a:ext cx="15240" cy="55049"/>
            </a:xfrm>
            <a:custGeom>
              <a:avLst/>
              <a:gdLst>
                <a:gd name="T0" fmla="*/ 1009890450 w 45"/>
                <a:gd name="T1" fmla="*/ 0 h 36"/>
                <a:gd name="T2" fmla="*/ 0 w 45"/>
                <a:gd name="T3" fmla="*/ 2147483647 h 36"/>
                <a:gd name="T4" fmla="*/ 893360030 w 45"/>
                <a:gd name="T5" fmla="*/ 2147483647 h 36"/>
                <a:gd name="T6" fmla="*/ 1747953578 w 45"/>
                <a:gd name="T7" fmla="*/ 2147483647 h 36"/>
                <a:gd name="T8" fmla="*/ 1009890450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391" name="Group 438"/>
            <p:cNvGrpSpPr>
              <a:grpSpLocks/>
            </p:cNvGrpSpPr>
            <p:nvPr>
              <p:custDataLst>
                <p:tags r:id="rId277"/>
              </p:custDataLst>
            </p:nvPr>
          </p:nvGrpSpPr>
          <p:grpSpPr bwMode="auto">
            <a:xfrm>
              <a:off x="3350145" y="5335249"/>
              <a:ext cx="368802" cy="993963"/>
              <a:chOff x="1589" y="3126"/>
              <a:chExt cx="290" cy="657"/>
            </a:xfrm>
          </p:grpSpPr>
          <p:sp>
            <p:nvSpPr>
              <p:cNvPr id="449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2 w 46"/>
                  <a:gd name="T1" fmla="*/ 0 h 51"/>
                  <a:gd name="T2" fmla="*/ 1 w 46"/>
                  <a:gd name="T3" fmla="*/ 0 h 51"/>
                  <a:gd name="T4" fmla="*/ 0 w 46"/>
                  <a:gd name="T5" fmla="*/ 0 h 51"/>
                  <a:gd name="T6" fmla="*/ 0 w 46"/>
                  <a:gd name="T7" fmla="*/ 0 h 51"/>
                  <a:gd name="T8" fmla="*/ 0 w 46"/>
                  <a:gd name="T9" fmla="*/ 0 h 51"/>
                  <a:gd name="T10" fmla="*/ 0 w 46"/>
                  <a:gd name="T11" fmla="*/ 1 h 51"/>
                  <a:gd name="T12" fmla="*/ 0 w 46"/>
                  <a:gd name="T13" fmla="*/ 1 h 51"/>
                  <a:gd name="T14" fmla="*/ 0 w 46"/>
                  <a:gd name="T15" fmla="*/ 1 h 51"/>
                  <a:gd name="T16" fmla="*/ 0 w 46"/>
                  <a:gd name="T17" fmla="*/ 1 h 51"/>
                  <a:gd name="T18" fmla="*/ 0 w 46"/>
                  <a:gd name="T19" fmla="*/ 1 h 51"/>
                  <a:gd name="T20" fmla="*/ 0 w 46"/>
                  <a:gd name="T21" fmla="*/ 1 h 51"/>
                  <a:gd name="T22" fmla="*/ 0 w 46"/>
                  <a:gd name="T23" fmla="*/ 2 h 51"/>
                  <a:gd name="T24" fmla="*/ 0 w 46"/>
                  <a:gd name="T25" fmla="*/ 2 h 51"/>
                  <a:gd name="T26" fmla="*/ 0 w 46"/>
                  <a:gd name="T27" fmla="*/ 2 h 51"/>
                  <a:gd name="T28" fmla="*/ 1 w 46"/>
                  <a:gd name="T29" fmla="*/ 2 h 51"/>
                  <a:gd name="T30" fmla="*/ 1 w 46"/>
                  <a:gd name="T31" fmla="*/ 2 h 51"/>
                  <a:gd name="T32" fmla="*/ 1 w 46"/>
                  <a:gd name="T33" fmla="*/ 2 h 51"/>
                  <a:gd name="T34" fmla="*/ 1 w 46"/>
                  <a:gd name="T35" fmla="*/ 2 h 51"/>
                  <a:gd name="T36" fmla="*/ 1 w 46"/>
                  <a:gd name="T37" fmla="*/ 2 h 51"/>
                  <a:gd name="T38" fmla="*/ 2 w 46"/>
                  <a:gd name="T39" fmla="*/ 2 h 51"/>
                  <a:gd name="T40" fmla="*/ 2 w 46"/>
                  <a:gd name="T41" fmla="*/ 1 h 51"/>
                  <a:gd name="T42" fmla="*/ 2 w 46"/>
                  <a:gd name="T43" fmla="*/ 1 h 51"/>
                  <a:gd name="T44" fmla="*/ 2 w 46"/>
                  <a:gd name="T45" fmla="*/ 1 h 51"/>
                  <a:gd name="T46" fmla="*/ 2 w 46"/>
                  <a:gd name="T47" fmla="*/ 0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6"/>
                  <a:gd name="T73" fmla="*/ 0 h 51"/>
                  <a:gd name="T74" fmla="*/ 46 w 46"/>
                  <a:gd name="T75" fmla="*/ 51 h 5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9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 h 158"/>
                  <a:gd name="T4" fmla="*/ 0 w 192"/>
                  <a:gd name="T5" fmla="*/ 1 h 158"/>
                  <a:gd name="T6" fmla="*/ 0 w 192"/>
                  <a:gd name="T7" fmla="*/ 1 h 158"/>
                  <a:gd name="T8" fmla="*/ 0 w 192"/>
                  <a:gd name="T9" fmla="*/ 2 h 158"/>
                  <a:gd name="T10" fmla="*/ 0 w 192"/>
                  <a:gd name="T11" fmla="*/ 2 h 158"/>
                  <a:gd name="T12" fmla="*/ 1 w 192"/>
                  <a:gd name="T13" fmla="*/ 3 h 158"/>
                  <a:gd name="T14" fmla="*/ 1 w 192"/>
                  <a:gd name="T15" fmla="*/ 3 h 158"/>
                  <a:gd name="T16" fmla="*/ 1 w 192"/>
                  <a:gd name="T17" fmla="*/ 3 h 158"/>
                  <a:gd name="T18" fmla="*/ 2 w 192"/>
                  <a:gd name="T19" fmla="*/ 5 h 158"/>
                  <a:gd name="T20" fmla="*/ 2 w 192"/>
                  <a:gd name="T21" fmla="*/ 6 h 158"/>
                  <a:gd name="T22" fmla="*/ 3 w 192"/>
                  <a:gd name="T23" fmla="*/ 6 h 158"/>
                  <a:gd name="T24" fmla="*/ 3 w 192"/>
                  <a:gd name="T25" fmla="*/ 6 h 158"/>
                  <a:gd name="T26" fmla="*/ 3 w 192"/>
                  <a:gd name="T27" fmla="*/ 6 h 158"/>
                  <a:gd name="T28" fmla="*/ 3 w 192"/>
                  <a:gd name="T29" fmla="*/ 6 h 158"/>
                  <a:gd name="T30" fmla="*/ 4 w 192"/>
                  <a:gd name="T31" fmla="*/ 6 h 158"/>
                  <a:gd name="T32" fmla="*/ 4 w 192"/>
                  <a:gd name="T33" fmla="*/ 6 h 158"/>
                  <a:gd name="T34" fmla="*/ 5 w 192"/>
                  <a:gd name="T35" fmla="*/ 6 h 158"/>
                  <a:gd name="T36" fmla="*/ 7 w 192"/>
                  <a:gd name="T37" fmla="*/ 6 h 158"/>
                  <a:gd name="T38" fmla="*/ 7 w 192"/>
                  <a:gd name="T39" fmla="*/ 6 h 158"/>
                  <a:gd name="T40" fmla="*/ 6 w 192"/>
                  <a:gd name="T41" fmla="*/ 6 h 158"/>
                  <a:gd name="T42" fmla="*/ 6 w 192"/>
                  <a:gd name="T43" fmla="*/ 6 h 158"/>
                  <a:gd name="T44" fmla="*/ 6 w 192"/>
                  <a:gd name="T45" fmla="*/ 6 h 158"/>
                  <a:gd name="T46" fmla="*/ 5 w 192"/>
                  <a:gd name="T47" fmla="*/ 5 h 158"/>
                  <a:gd name="T48" fmla="*/ 5 w 192"/>
                  <a:gd name="T49" fmla="*/ 5 h 158"/>
                  <a:gd name="T50" fmla="*/ 4 w 192"/>
                  <a:gd name="T51" fmla="*/ 5 h 158"/>
                  <a:gd name="T52" fmla="*/ 4 w 192"/>
                  <a:gd name="T53" fmla="*/ 4 h 158"/>
                  <a:gd name="T54" fmla="*/ 3 w 192"/>
                  <a:gd name="T55" fmla="*/ 4 h 158"/>
                  <a:gd name="T56" fmla="*/ 3 w 192"/>
                  <a:gd name="T57" fmla="*/ 4 h 158"/>
                  <a:gd name="T58" fmla="*/ 2 w 192"/>
                  <a:gd name="T59" fmla="*/ 3 h 158"/>
                  <a:gd name="T60" fmla="*/ 2 w 192"/>
                  <a:gd name="T61" fmla="*/ 3 h 158"/>
                  <a:gd name="T62" fmla="*/ 2 w 192"/>
                  <a:gd name="T63" fmla="*/ 2 h 158"/>
                  <a:gd name="T64" fmla="*/ 1 w 192"/>
                  <a:gd name="T65" fmla="*/ 2 h 158"/>
                  <a:gd name="T66" fmla="*/ 1 w 192"/>
                  <a:gd name="T67" fmla="*/ 1 h 158"/>
                  <a:gd name="T68" fmla="*/ 1 w 192"/>
                  <a:gd name="T69" fmla="*/ 1 h 158"/>
                  <a:gd name="T70" fmla="*/ 1 w 192"/>
                  <a:gd name="T71" fmla="*/ 1 h 158"/>
                  <a:gd name="T72" fmla="*/ 0 w 192"/>
                  <a:gd name="T73" fmla="*/ 0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2"/>
                  <a:gd name="T115" fmla="*/ 0 h 158"/>
                  <a:gd name="T116" fmla="*/ 192 w 192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9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7 w 884"/>
                  <a:gd name="T1" fmla="*/ 15 h 1818"/>
                  <a:gd name="T2" fmla="*/ 31 w 884"/>
                  <a:gd name="T3" fmla="*/ 13 h 1818"/>
                  <a:gd name="T4" fmla="*/ 31 w 884"/>
                  <a:gd name="T5" fmla="*/ 9 h 1818"/>
                  <a:gd name="T6" fmla="*/ 30 w 884"/>
                  <a:gd name="T7" fmla="*/ 7 h 1818"/>
                  <a:gd name="T8" fmla="*/ 30 w 884"/>
                  <a:gd name="T9" fmla="*/ 10 h 1818"/>
                  <a:gd name="T10" fmla="*/ 27 w 884"/>
                  <a:gd name="T11" fmla="*/ 12 h 1818"/>
                  <a:gd name="T12" fmla="*/ 24 w 884"/>
                  <a:gd name="T13" fmla="*/ 12 h 1818"/>
                  <a:gd name="T14" fmla="*/ 22 w 884"/>
                  <a:gd name="T15" fmla="*/ 11 h 1818"/>
                  <a:gd name="T16" fmla="*/ 23 w 884"/>
                  <a:gd name="T17" fmla="*/ 8 h 1818"/>
                  <a:gd name="T18" fmla="*/ 19 w 884"/>
                  <a:gd name="T19" fmla="*/ 5 h 1818"/>
                  <a:gd name="T20" fmla="*/ 15 w 884"/>
                  <a:gd name="T21" fmla="*/ 3 h 1818"/>
                  <a:gd name="T22" fmla="*/ 13 w 884"/>
                  <a:gd name="T23" fmla="*/ 0 h 1818"/>
                  <a:gd name="T24" fmla="*/ 10 w 884"/>
                  <a:gd name="T25" fmla="*/ 1 h 1818"/>
                  <a:gd name="T26" fmla="*/ 8 w 884"/>
                  <a:gd name="T27" fmla="*/ 1 h 1818"/>
                  <a:gd name="T28" fmla="*/ 6 w 884"/>
                  <a:gd name="T29" fmla="*/ 0 h 1818"/>
                  <a:gd name="T30" fmla="*/ 3 w 884"/>
                  <a:gd name="T31" fmla="*/ 2 h 1818"/>
                  <a:gd name="T32" fmla="*/ 2 w 884"/>
                  <a:gd name="T33" fmla="*/ 4 h 1818"/>
                  <a:gd name="T34" fmla="*/ 1 w 884"/>
                  <a:gd name="T35" fmla="*/ 7 h 1818"/>
                  <a:gd name="T36" fmla="*/ 2 w 884"/>
                  <a:gd name="T37" fmla="*/ 9 h 1818"/>
                  <a:gd name="T38" fmla="*/ 2 w 884"/>
                  <a:gd name="T39" fmla="*/ 12 h 1818"/>
                  <a:gd name="T40" fmla="*/ 0 w 884"/>
                  <a:gd name="T41" fmla="*/ 16 h 1818"/>
                  <a:gd name="T42" fmla="*/ 0 w 884"/>
                  <a:gd name="T43" fmla="*/ 23 h 1818"/>
                  <a:gd name="T44" fmla="*/ 3 w 884"/>
                  <a:gd name="T45" fmla="*/ 26 h 1818"/>
                  <a:gd name="T46" fmla="*/ 2 w 884"/>
                  <a:gd name="T47" fmla="*/ 28 h 1818"/>
                  <a:gd name="T48" fmla="*/ 2 w 884"/>
                  <a:gd name="T49" fmla="*/ 30 h 1818"/>
                  <a:gd name="T50" fmla="*/ 3 w 884"/>
                  <a:gd name="T51" fmla="*/ 31 h 1818"/>
                  <a:gd name="T52" fmla="*/ 2 w 884"/>
                  <a:gd name="T53" fmla="*/ 33 h 1818"/>
                  <a:gd name="T54" fmla="*/ 3 w 884"/>
                  <a:gd name="T55" fmla="*/ 36 h 1818"/>
                  <a:gd name="T56" fmla="*/ 3 w 884"/>
                  <a:gd name="T57" fmla="*/ 39 h 1818"/>
                  <a:gd name="T58" fmla="*/ 3 w 884"/>
                  <a:gd name="T59" fmla="*/ 43 h 1818"/>
                  <a:gd name="T60" fmla="*/ 5 w 884"/>
                  <a:gd name="T61" fmla="*/ 47 h 1818"/>
                  <a:gd name="T62" fmla="*/ 7 w 884"/>
                  <a:gd name="T63" fmla="*/ 52 h 1818"/>
                  <a:gd name="T64" fmla="*/ 8 w 884"/>
                  <a:gd name="T65" fmla="*/ 54 h 1818"/>
                  <a:gd name="T66" fmla="*/ 8 w 884"/>
                  <a:gd name="T67" fmla="*/ 57 h 1818"/>
                  <a:gd name="T68" fmla="*/ 8 w 884"/>
                  <a:gd name="T69" fmla="*/ 59 h 1818"/>
                  <a:gd name="T70" fmla="*/ 7 w 884"/>
                  <a:gd name="T71" fmla="*/ 61 h 1818"/>
                  <a:gd name="T72" fmla="*/ 8 w 884"/>
                  <a:gd name="T73" fmla="*/ 64 h 1818"/>
                  <a:gd name="T74" fmla="*/ 11 w 884"/>
                  <a:gd name="T75" fmla="*/ 66 h 1818"/>
                  <a:gd name="T76" fmla="*/ 14 w 884"/>
                  <a:gd name="T77" fmla="*/ 67 h 1818"/>
                  <a:gd name="T78" fmla="*/ 16 w 884"/>
                  <a:gd name="T79" fmla="*/ 66 h 1818"/>
                  <a:gd name="T80" fmla="*/ 16 w 884"/>
                  <a:gd name="T81" fmla="*/ 63 h 1818"/>
                  <a:gd name="T82" fmla="*/ 17 w 884"/>
                  <a:gd name="T83" fmla="*/ 60 h 1818"/>
                  <a:gd name="T84" fmla="*/ 17 w 884"/>
                  <a:gd name="T85" fmla="*/ 56 h 1818"/>
                  <a:gd name="T86" fmla="*/ 15 w 884"/>
                  <a:gd name="T87" fmla="*/ 55 h 1818"/>
                  <a:gd name="T88" fmla="*/ 14 w 884"/>
                  <a:gd name="T89" fmla="*/ 53 h 1818"/>
                  <a:gd name="T90" fmla="*/ 16 w 884"/>
                  <a:gd name="T91" fmla="*/ 52 h 1818"/>
                  <a:gd name="T92" fmla="*/ 17 w 884"/>
                  <a:gd name="T93" fmla="*/ 49 h 1818"/>
                  <a:gd name="T94" fmla="*/ 16 w 884"/>
                  <a:gd name="T95" fmla="*/ 45 h 1818"/>
                  <a:gd name="T96" fmla="*/ 15 w 884"/>
                  <a:gd name="T97" fmla="*/ 42 h 1818"/>
                  <a:gd name="T98" fmla="*/ 18 w 884"/>
                  <a:gd name="T99" fmla="*/ 43 h 1818"/>
                  <a:gd name="T100" fmla="*/ 20 w 884"/>
                  <a:gd name="T101" fmla="*/ 43 h 1818"/>
                  <a:gd name="T102" fmla="*/ 20 w 884"/>
                  <a:gd name="T103" fmla="*/ 40 h 1818"/>
                  <a:gd name="T104" fmla="*/ 20 w 884"/>
                  <a:gd name="T105" fmla="*/ 38 h 1818"/>
                  <a:gd name="T106" fmla="*/ 24 w 884"/>
                  <a:gd name="T107" fmla="*/ 38 h 1818"/>
                  <a:gd name="T108" fmla="*/ 28 w 884"/>
                  <a:gd name="T109" fmla="*/ 36 h 1818"/>
                  <a:gd name="T110" fmla="*/ 29 w 884"/>
                  <a:gd name="T111" fmla="*/ 33 h 1818"/>
                  <a:gd name="T112" fmla="*/ 28 w 884"/>
                  <a:gd name="T113" fmla="*/ 32 h 1818"/>
                  <a:gd name="T114" fmla="*/ 27 w 884"/>
                  <a:gd name="T115" fmla="*/ 30 h 1818"/>
                  <a:gd name="T116" fmla="*/ 24 w 884"/>
                  <a:gd name="T117" fmla="*/ 28 h 1818"/>
                  <a:gd name="T118" fmla="*/ 25 w 884"/>
                  <a:gd name="T119" fmla="*/ 20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84"/>
                  <a:gd name="T181" fmla="*/ 0 h 1818"/>
                  <a:gd name="T182" fmla="*/ 884 w 884"/>
                  <a:gd name="T183" fmla="*/ 1818 h 18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392" name="Freeform 442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951582" y="3362567"/>
              <a:ext cx="118870" cy="105512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166044753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3" name="Freeform 443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5439525" y="2951227"/>
              <a:ext cx="201165" cy="145269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1070412798 w 485"/>
                <a:gd name="T25" fmla="*/ 2147483647 h 291"/>
                <a:gd name="T26" fmla="*/ 570817987 w 485"/>
                <a:gd name="T27" fmla="*/ 2147483647 h 291"/>
                <a:gd name="T28" fmla="*/ 214013842 w 485"/>
                <a:gd name="T29" fmla="*/ 2147483647 h 291"/>
                <a:gd name="T30" fmla="*/ 0 w 485"/>
                <a:gd name="T31" fmla="*/ 2147483647 h 291"/>
                <a:gd name="T32" fmla="*/ 356804508 w 485"/>
                <a:gd name="T33" fmla="*/ 2147483647 h 291"/>
                <a:gd name="T34" fmla="*/ 999017906 w 485"/>
                <a:gd name="T35" fmla="*/ 2147483647 h 291"/>
                <a:gd name="T36" fmla="*/ 1641230992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4" name="Freeform 444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302367" y="3270818"/>
              <a:ext cx="79247" cy="84104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1933437847 w 186"/>
                <a:gd name="T17" fmla="*/ 2147483647 h 166"/>
                <a:gd name="T18" fmla="*/ 1005474955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541311581 w 186"/>
                <a:gd name="T25" fmla="*/ 260031803 h 166"/>
                <a:gd name="T26" fmla="*/ 1082804663 w 186"/>
                <a:gd name="T27" fmla="*/ 390176172 h 166"/>
                <a:gd name="T28" fmla="*/ 1546786323 w 186"/>
                <a:gd name="T29" fmla="*/ 520320478 h 166"/>
                <a:gd name="T30" fmla="*/ 2088279618 w 186"/>
                <a:gd name="T31" fmla="*/ 520320478 h 166"/>
                <a:gd name="T32" fmla="*/ 2147483647 w 186"/>
                <a:gd name="T33" fmla="*/ 520320478 h 166"/>
                <a:gd name="T34" fmla="*/ 2147483647 w 186"/>
                <a:gd name="T35" fmla="*/ 390176172 h 166"/>
                <a:gd name="T36" fmla="*/ 2147483647 w 186"/>
                <a:gd name="T37" fmla="*/ 260031803 h 166"/>
                <a:gd name="T38" fmla="*/ 2147483647 w 186"/>
                <a:gd name="T39" fmla="*/ 0 h 166"/>
                <a:gd name="T40" fmla="*/ 2147483647 w 186"/>
                <a:gd name="T41" fmla="*/ 1560704688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5" name="Freeform 445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3732669" y="4654697"/>
              <a:ext cx="79247" cy="55049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1927896400 h 104"/>
                <a:gd name="T12" fmla="*/ 2147483647 w 186"/>
                <a:gd name="T13" fmla="*/ 1631188729 h 104"/>
                <a:gd name="T14" fmla="*/ 2147483647 w 186"/>
                <a:gd name="T15" fmla="*/ 1482975692 h 104"/>
                <a:gd name="T16" fmla="*/ 2147483647 w 186"/>
                <a:gd name="T17" fmla="*/ 1334762654 h 104"/>
                <a:gd name="T18" fmla="*/ 2147483647 w 186"/>
                <a:gd name="T19" fmla="*/ 1186548558 h 104"/>
                <a:gd name="T20" fmla="*/ 2147483647 w 186"/>
                <a:gd name="T21" fmla="*/ 889841681 h 104"/>
                <a:gd name="T22" fmla="*/ 2147483647 w 186"/>
                <a:gd name="T23" fmla="*/ 444920841 h 104"/>
                <a:gd name="T24" fmla="*/ 2147483647 w 186"/>
                <a:gd name="T25" fmla="*/ 148213633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148213633 h 104"/>
                <a:gd name="T32" fmla="*/ 2147483647 w 186"/>
                <a:gd name="T33" fmla="*/ 296707274 h 104"/>
                <a:gd name="T34" fmla="*/ 2147483647 w 186"/>
                <a:gd name="T35" fmla="*/ 593134540 h 104"/>
                <a:gd name="T36" fmla="*/ 2147483647 w 186"/>
                <a:gd name="T37" fmla="*/ 889841681 h 104"/>
                <a:gd name="T38" fmla="*/ 2147483647 w 186"/>
                <a:gd name="T39" fmla="*/ 1482975692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1546786323 w 186"/>
                <a:gd name="T45" fmla="*/ 2147483647 h 104"/>
                <a:gd name="T46" fmla="*/ 541311581 w 186"/>
                <a:gd name="T47" fmla="*/ 2147483647 h 104"/>
                <a:gd name="T48" fmla="*/ 0 w 186"/>
                <a:gd name="T49" fmla="*/ 2147483647 h 104"/>
                <a:gd name="T50" fmla="*/ 618642142 w 186"/>
                <a:gd name="T51" fmla="*/ 2147483647 h 104"/>
                <a:gd name="T52" fmla="*/ 1237464932 w 186"/>
                <a:gd name="T53" fmla="*/ 2147483647 h 104"/>
                <a:gd name="T54" fmla="*/ 1624116031 w 186"/>
                <a:gd name="T55" fmla="*/ 2147483647 h 104"/>
                <a:gd name="T56" fmla="*/ 19334378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6" name="Freeform 446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454765" y="3304459"/>
              <a:ext cx="128014" cy="93279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1981282283 h 179"/>
                <a:gd name="T6" fmla="*/ 2147483647 w 311"/>
                <a:gd name="T7" fmla="*/ 565925845 h 179"/>
                <a:gd name="T8" fmla="*/ 2147483647 w 311"/>
                <a:gd name="T9" fmla="*/ 0 h 179"/>
                <a:gd name="T10" fmla="*/ 2147483647 w 311"/>
                <a:gd name="T11" fmla="*/ 282962662 h 179"/>
                <a:gd name="T12" fmla="*/ 2147483647 w 311"/>
                <a:gd name="T13" fmla="*/ 849159876 h 179"/>
                <a:gd name="T14" fmla="*/ 2147483647 w 311"/>
                <a:gd name="T15" fmla="*/ 1698048774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1464565614 w 311"/>
                <a:gd name="T67" fmla="*/ 2147483647 h 179"/>
                <a:gd name="T68" fmla="*/ 906628133 w 311"/>
                <a:gd name="T69" fmla="*/ 2147483647 h 179"/>
                <a:gd name="T70" fmla="*/ 488132215 w 311"/>
                <a:gd name="T71" fmla="*/ 2147483647 h 179"/>
                <a:gd name="T72" fmla="*/ 209247702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09247702 w 311"/>
                <a:gd name="T79" fmla="*/ 2147483647 h 179"/>
                <a:gd name="T80" fmla="*/ 906628133 w 311"/>
                <a:gd name="T81" fmla="*/ 2147483647 h 179"/>
                <a:gd name="T82" fmla="*/ 1464565614 w 311"/>
                <a:gd name="T83" fmla="*/ 2147483647 h 179"/>
                <a:gd name="T84" fmla="*/ 1743618325 w 311"/>
                <a:gd name="T85" fmla="*/ 2147483647 h 179"/>
                <a:gd name="T86" fmla="*/ 1813254620 w 311"/>
                <a:gd name="T87" fmla="*/ 2147483647 h 179"/>
                <a:gd name="T88" fmla="*/ 1673813676 w 311"/>
                <a:gd name="T89" fmla="*/ 2147483647 h 179"/>
                <a:gd name="T90" fmla="*/ 1325123435 w 311"/>
                <a:gd name="T91" fmla="*/ 2147483647 h 179"/>
                <a:gd name="T92" fmla="*/ 557938098 w 311"/>
                <a:gd name="T93" fmla="*/ 2147483647 h 179"/>
                <a:gd name="T94" fmla="*/ 69805909 w 311"/>
                <a:gd name="T95" fmla="*/ 2147483647 h 179"/>
                <a:gd name="T96" fmla="*/ 69805909 w 311"/>
                <a:gd name="T97" fmla="*/ 1839529518 h 179"/>
                <a:gd name="T98" fmla="*/ 418495816 w 311"/>
                <a:gd name="T99" fmla="*/ 849159876 h 179"/>
                <a:gd name="T100" fmla="*/ 0 w 311"/>
                <a:gd name="T101" fmla="*/ 84915987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7" name="Freeform 447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836030" y="4197482"/>
              <a:ext cx="170686" cy="159031"/>
            </a:xfrm>
            <a:custGeom>
              <a:avLst/>
              <a:gdLst>
                <a:gd name="T0" fmla="*/ 449194632 w 405"/>
                <a:gd name="T1" fmla="*/ 2147483647 h 314"/>
                <a:gd name="T2" fmla="*/ 973166568 w 405"/>
                <a:gd name="T3" fmla="*/ 2147483647 h 314"/>
                <a:gd name="T4" fmla="*/ 1272628954 w 405"/>
                <a:gd name="T5" fmla="*/ 2147483647 h 314"/>
                <a:gd name="T6" fmla="*/ 1721645946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1429017064 h 314"/>
                <a:gd name="T38" fmla="*/ 2147483647 w 405"/>
                <a:gd name="T39" fmla="*/ 519688922 h 314"/>
                <a:gd name="T40" fmla="*/ 2147483647 w 405"/>
                <a:gd name="T41" fmla="*/ 0 h 314"/>
                <a:gd name="T42" fmla="*/ 2147483647 w 405"/>
                <a:gd name="T43" fmla="*/ 1818912304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096063064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8" name="Freeform 448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169780" y="4263236"/>
              <a:ext cx="185925" cy="336413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1451897784 w 453"/>
                <a:gd name="T29" fmla="*/ 2147483647 h 661"/>
                <a:gd name="T30" fmla="*/ 483966133 w 453"/>
                <a:gd name="T31" fmla="*/ 2147483647 h 661"/>
                <a:gd name="T32" fmla="*/ 69065604 w 453"/>
                <a:gd name="T33" fmla="*/ 2147483647 h 661"/>
                <a:gd name="T34" fmla="*/ 553031711 w 453"/>
                <a:gd name="T35" fmla="*/ 2147483647 h 661"/>
                <a:gd name="T36" fmla="*/ 1382832206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1450024488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99" name="Freeform 449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7522804" y="4030805"/>
              <a:ext cx="53340" cy="55049"/>
            </a:xfrm>
            <a:custGeom>
              <a:avLst/>
              <a:gdLst>
                <a:gd name="T0" fmla="*/ 0 w 126"/>
                <a:gd name="T1" fmla="*/ 2147483647 h 105"/>
                <a:gd name="T2" fmla="*/ 303404302 w 126"/>
                <a:gd name="T3" fmla="*/ 2147483647 h 105"/>
                <a:gd name="T4" fmla="*/ 758600661 w 126"/>
                <a:gd name="T5" fmla="*/ 2147483647 h 105"/>
                <a:gd name="T6" fmla="*/ 1213796703 w 126"/>
                <a:gd name="T7" fmla="*/ 2147483647 h 105"/>
                <a:gd name="T8" fmla="*/ 1820784166 w 126"/>
                <a:gd name="T9" fmla="*/ 2147483647 h 105"/>
                <a:gd name="T10" fmla="*/ 2147483647 w 126"/>
                <a:gd name="T11" fmla="*/ 1585149125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576393008 h 105"/>
                <a:gd name="T18" fmla="*/ 2147483647 w 126"/>
                <a:gd name="T19" fmla="*/ 1152786017 h 105"/>
                <a:gd name="T20" fmla="*/ 2147483647 w 126"/>
                <a:gd name="T21" fmla="*/ 1729179287 h 105"/>
                <a:gd name="T22" fmla="*/ 2147483647 w 126"/>
                <a:gd name="T23" fmla="*/ 2017512234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1820784166 w 126"/>
                <a:gd name="T67" fmla="*/ 2147483647 h 105"/>
                <a:gd name="T68" fmla="*/ 1517379969 w 126"/>
                <a:gd name="T69" fmla="*/ 2147483647 h 105"/>
                <a:gd name="T70" fmla="*/ 1213796703 w 126"/>
                <a:gd name="T71" fmla="*/ 2147483647 h 105"/>
                <a:gd name="T72" fmla="*/ 1062184139 w 126"/>
                <a:gd name="T73" fmla="*/ 2147483647 h 105"/>
                <a:gd name="T74" fmla="*/ 986198364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0" name="Freeform 450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3063642" y="4284644"/>
              <a:ext cx="286508" cy="504619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1421992230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80848821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1" name="Freeform 451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226168" y="4543069"/>
              <a:ext cx="179830" cy="264543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1988745692 w 429"/>
                <a:gd name="T53" fmla="*/ 2147483647 h 524"/>
                <a:gd name="T54" fmla="*/ 441924135 w 429"/>
                <a:gd name="T55" fmla="*/ 2147483647 h 524"/>
                <a:gd name="T56" fmla="*/ 1841496403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900733913 h 524"/>
                <a:gd name="T122" fmla="*/ 2147483647 w 429"/>
                <a:gd name="T123" fmla="*/ 643308451 h 524"/>
                <a:gd name="T124" fmla="*/ 2147483647 w 429"/>
                <a:gd name="T125" fmla="*/ 514595594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2" name="Freeform 452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256648" y="3235648"/>
              <a:ext cx="121918" cy="110099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1965211286 w 292"/>
                <a:gd name="T45" fmla="*/ 2147483647 h 223"/>
                <a:gd name="T46" fmla="*/ 946258228 w 292"/>
                <a:gd name="T47" fmla="*/ 2147483647 h 223"/>
                <a:gd name="T48" fmla="*/ 291129728 w 292"/>
                <a:gd name="T49" fmla="*/ 2147483647 h 223"/>
                <a:gd name="T50" fmla="*/ 72869382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1083011969 h 223"/>
                <a:gd name="T66" fmla="*/ 2147483647 w 292"/>
                <a:gd name="T67" fmla="*/ 0 h 223"/>
                <a:gd name="T68" fmla="*/ 2147483647 w 292"/>
                <a:gd name="T69" fmla="*/ 1684847498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3" name="Freeform 453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209404" y="3099554"/>
              <a:ext cx="161542" cy="74929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013309658 w 379"/>
                <a:gd name="T45" fmla="*/ 2147483647 h 147"/>
                <a:gd name="T46" fmla="*/ 1239016085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1059527987 h 147"/>
                <a:gd name="T60" fmla="*/ 2147483647 w 379"/>
                <a:gd name="T61" fmla="*/ 264752145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9"/>
                <a:gd name="T115" fmla="*/ 0 h 147"/>
                <a:gd name="T116" fmla="*/ 379 w 379"/>
                <a:gd name="T117" fmla="*/ 147 h 14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4" name="Freeform 454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174353" y="2960402"/>
              <a:ext cx="28955" cy="58108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107023854 w 61"/>
                <a:gd name="T7" fmla="*/ 2147483647 h 67"/>
                <a:gd name="T8" fmla="*/ 213822713 w 61"/>
                <a:gd name="T9" fmla="*/ 2147483647 h 67"/>
                <a:gd name="T10" fmla="*/ 320846596 w 61"/>
                <a:gd name="T11" fmla="*/ 2147483647 h 67"/>
                <a:gd name="T12" fmla="*/ 641693192 w 61"/>
                <a:gd name="T13" fmla="*/ 2147483647 h 67"/>
                <a:gd name="T14" fmla="*/ 1283386384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1957174552 h 67"/>
                <a:gd name="T40" fmla="*/ 1925079339 w 61"/>
                <a:gd name="T41" fmla="*/ 2147483647 h 67"/>
                <a:gd name="T42" fmla="*/ 1390410683 w 61"/>
                <a:gd name="T43" fmla="*/ 2147483647 h 67"/>
                <a:gd name="T44" fmla="*/ 1069563731 w 61"/>
                <a:gd name="T45" fmla="*/ 1957174552 h 67"/>
                <a:gd name="T46" fmla="*/ 641693192 w 61"/>
                <a:gd name="T47" fmla="*/ 1305033535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5" name="Freeform 455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146921" y="2964989"/>
              <a:ext cx="24384" cy="56579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335607168 w 60"/>
                <a:gd name="T5" fmla="*/ 2147483647 h 55"/>
                <a:gd name="T6" fmla="*/ 671214337 w 60"/>
                <a:gd name="T7" fmla="*/ 2147483647 h 55"/>
                <a:gd name="T8" fmla="*/ 1073876370 w 60"/>
                <a:gd name="T9" fmla="*/ 2147483647 h 55"/>
                <a:gd name="T10" fmla="*/ 1409483843 w 60"/>
                <a:gd name="T11" fmla="*/ 2147483647 h 55"/>
                <a:gd name="T12" fmla="*/ 1812310266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1543759182 w 60"/>
                <a:gd name="T37" fmla="*/ 1088931991 h 55"/>
                <a:gd name="T38" fmla="*/ 1006821200 w 60"/>
                <a:gd name="T39" fmla="*/ 2147483647 h 55"/>
                <a:gd name="T40" fmla="*/ 469883015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6" name="Freeform 456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117965" y="2912998"/>
              <a:ext cx="50292" cy="74929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1914001553 w 120"/>
                <a:gd name="T23" fmla="*/ 2147483647 h 148"/>
                <a:gd name="T24" fmla="*/ 1398659141 w 120"/>
                <a:gd name="T25" fmla="*/ 2147483647 h 148"/>
                <a:gd name="T26" fmla="*/ 809722578 w 120"/>
                <a:gd name="T27" fmla="*/ 2147483647 h 148"/>
                <a:gd name="T28" fmla="*/ 441747004 w 120"/>
                <a:gd name="T29" fmla="*/ 2147483647 h 148"/>
                <a:gd name="T30" fmla="*/ 220785701 w 120"/>
                <a:gd name="T31" fmla="*/ 2147483647 h 148"/>
                <a:gd name="T32" fmla="*/ 147190450 w 120"/>
                <a:gd name="T33" fmla="*/ 2147483647 h 148"/>
                <a:gd name="T34" fmla="*/ 73595225 w 120"/>
                <a:gd name="T35" fmla="*/ 2147483647 h 148"/>
                <a:gd name="T36" fmla="*/ 0 w 120"/>
                <a:gd name="T37" fmla="*/ 2147483647 h 148"/>
                <a:gd name="T38" fmla="*/ 147190450 w 120"/>
                <a:gd name="T39" fmla="*/ 2147483647 h 148"/>
                <a:gd name="T40" fmla="*/ 588936982 w 120"/>
                <a:gd name="T41" fmla="*/ 2147483647 h 148"/>
                <a:gd name="T42" fmla="*/ 1030508383 w 120"/>
                <a:gd name="T43" fmla="*/ 2147483647 h 148"/>
                <a:gd name="T44" fmla="*/ 1472254758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076162759 h 148"/>
                <a:gd name="T50" fmla="*/ 2147483647 w 120"/>
                <a:gd name="T51" fmla="*/ 1816770818 h 148"/>
                <a:gd name="T52" fmla="*/ 2147483647 w 120"/>
                <a:gd name="T53" fmla="*/ 1427425719 h 148"/>
                <a:gd name="T54" fmla="*/ 2147483647 w 120"/>
                <a:gd name="T55" fmla="*/ 648736786 h 148"/>
                <a:gd name="T56" fmla="*/ 2147483647 w 120"/>
                <a:gd name="T57" fmla="*/ 0 h 148"/>
                <a:gd name="T58" fmla="*/ 2147483647 w 120"/>
                <a:gd name="T59" fmla="*/ 259648686 h 148"/>
                <a:gd name="T60" fmla="*/ 2147483647 w 120"/>
                <a:gd name="T61" fmla="*/ 908385409 h 148"/>
                <a:gd name="T62" fmla="*/ 2147483647 w 120"/>
                <a:gd name="T63" fmla="*/ 1297729749 h 148"/>
                <a:gd name="T64" fmla="*/ 2147483647 w 120"/>
                <a:gd name="T65" fmla="*/ 1687073836 h 148"/>
                <a:gd name="T66" fmla="*/ 2147483647 w 120"/>
                <a:gd name="T67" fmla="*/ 2076162759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FFC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7" name="Freeform 457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532487" y="3688276"/>
              <a:ext cx="262124" cy="296655"/>
            </a:xfrm>
            <a:custGeom>
              <a:avLst/>
              <a:gdLst>
                <a:gd name="T0" fmla="*/ 1505463955 w 631"/>
                <a:gd name="T1" fmla="*/ 251610002 h 592"/>
                <a:gd name="T2" fmla="*/ 2147483647 w 631"/>
                <a:gd name="T3" fmla="*/ 503219502 h 592"/>
                <a:gd name="T4" fmla="*/ 2147483647 w 631"/>
                <a:gd name="T5" fmla="*/ 1006690560 h 592"/>
                <a:gd name="T6" fmla="*/ 2147483647 w 631"/>
                <a:gd name="T7" fmla="*/ 1384104968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1792095815 w 631"/>
                <a:gd name="T87" fmla="*/ 2147483647 h 592"/>
                <a:gd name="T88" fmla="*/ 788625920 w 631"/>
                <a:gd name="T89" fmla="*/ 2147483647 h 592"/>
                <a:gd name="T90" fmla="*/ 143402180 w 631"/>
                <a:gd name="T91" fmla="*/ 2147483647 h 592"/>
                <a:gd name="T92" fmla="*/ 0 w 631"/>
                <a:gd name="T93" fmla="*/ 2147483647 h 592"/>
                <a:gd name="T94" fmla="*/ 215016838 w 631"/>
                <a:gd name="T95" fmla="*/ 2147483647 h 592"/>
                <a:gd name="T96" fmla="*/ 716838451 w 631"/>
                <a:gd name="T97" fmla="*/ 2147483647 h 592"/>
                <a:gd name="T98" fmla="*/ 1218659700 w 631"/>
                <a:gd name="T99" fmla="*/ 2147483647 h 592"/>
                <a:gd name="T100" fmla="*/ 1433676901 w 631"/>
                <a:gd name="T101" fmla="*/ 2147483647 h 592"/>
                <a:gd name="T102" fmla="*/ 1290274774 w 631"/>
                <a:gd name="T103" fmla="*/ 2147483647 h 592"/>
                <a:gd name="T104" fmla="*/ 931855444 w 631"/>
                <a:gd name="T105" fmla="*/ 2147483647 h 592"/>
                <a:gd name="T106" fmla="*/ 645223792 w 631"/>
                <a:gd name="T107" fmla="*/ 2147483647 h 592"/>
                <a:gd name="T108" fmla="*/ 501821664 w 631"/>
                <a:gd name="T109" fmla="*/ 2147483647 h 592"/>
                <a:gd name="T110" fmla="*/ 931855444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8" name="Freeform 458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143873" y="3336572"/>
              <a:ext cx="16763" cy="55049"/>
            </a:xfrm>
            <a:custGeom>
              <a:avLst/>
              <a:gdLst>
                <a:gd name="T0" fmla="*/ 515280384 w 40"/>
                <a:gd name="T1" fmla="*/ 2147483647 h 93"/>
                <a:gd name="T2" fmla="*/ 736039371 w 40"/>
                <a:gd name="T3" fmla="*/ 2147483647 h 93"/>
                <a:gd name="T4" fmla="*/ 1030384757 w 40"/>
                <a:gd name="T5" fmla="*/ 2147483647 h 93"/>
                <a:gd name="T6" fmla="*/ 1472078743 w 40"/>
                <a:gd name="T7" fmla="*/ 2147483647 h 93"/>
                <a:gd name="T8" fmla="*/ 1840010947 w 40"/>
                <a:gd name="T9" fmla="*/ 2147483647 h 93"/>
                <a:gd name="T10" fmla="*/ 2147483647 w 40"/>
                <a:gd name="T11" fmla="*/ 82968789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1913597136 w 40"/>
                <a:gd name="T31" fmla="*/ 2147483647 h 93"/>
                <a:gd name="T32" fmla="*/ 956798568 w 40"/>
                <a:gd name="T33" fmla="*/ 2147483647 h 93"/>
                <a:gd name="T34" fmla="*/ 809625980 w 40"/>
                <a:gd name="T35" fmla="*/ 2147483647 h 93"/>
                <a:gd name="T36" fmla="*/ 588866574 w 40"/>
                <a:gd name="T37" fmla="*/ 2147483647 h 93"/>
                <a:gd name="T38" fmla="*/ 441518603 w 40"/>
                <a:gd name="T39" fmla="*/ 2147483647 h 93"/>
                <a:gd name="T40" fmla="*/ 294345700 w 40"/>
                <a:gd name="T41" fmla="*/ 2147483647 h 93"/>
                <a:gd name="T42" fmla="*/ 73586216 w 40"/>
                <a:gd name="T43" fmla="*/ 2147483647 h 93"/>
                <a:gd name="T44" fmla="*/ 0 w 40"/>
                <a:gd name="T45" fmla="*/ 2147483647 h 93"/>
                <a:gd name="T46" fmla="*/ 73586216 w 40"/>
                <a:gd name="T47" fmla="*/ 2147483647 h 93"/>
                <a:gd name="T48" fmla="*/ 220759092 w 40"/>
                <a:gd name="T49" fmla="*/ 2147483647 h 93"/>
                <a:gd name="T50" fmla="*/ 441518603 w 40"/>
                <a:gd name="T51" fmla="*/ 2147483647 h 93"/>
                <a:gd name="T52" fmla="*/ 515280384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09" name="Freeform 459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797930" y="3096495"/>
              <a:ext cx="283460" cy="263013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1555978391 w 664"/>
                <a:gd name="T15" fmla="*/ 2147483647 h 518"/>
                <a:gd name="T16" fmla="*/ 1867246812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1570817999 h 518"/>
                <a:gd name="T44" fmla="*/ 2147483647 w 664"/>
                <a:gd name="T45" fmla="*/ 52360595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64"/>
                <a:gd name="T187" fmla="*/ 0 h 518"/>
                <a:gd name="T188" fmla="*/ 664 w 664"/>
                <a:gd name="T189" fmla="*/ 518 h 5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0" name="Freeform 460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835760" y="3322809"/>
              <a:ext cx="144778" cy="79516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017843498 w 352"/>
                <a:gd name="T51" fmla="*/ 2147483647 h 153"/>
                <a:gd name="T52" fmla="*/ 1043770460 w 352"/>
                <a:gd name="T53" fmla="*/ 982627413 h 153"/>
                <a:gd name="T54" fmla="*/ 0 w 352"/>
                <a:gd name="T55" fmla="*/ 0 h 153"/>
                <a:gd name="T56" fmla="*/ 487036519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1" name="Freeform 461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402950" y="3380917"/>
              <a:ext cx="141730" cy="16667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1020494589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1854025985 h 327"/>
                <a:gd name="T82" fmla="*/ 2147483647 w 331"/>
                <a:gd name="T83" fmla="*/ 927012992 h 327"/>
                <a:gd name="T84" fmla="*/ 2147483647 w 331"/>
                <a:gd name="T85" fmla="*/ 1854025985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794508619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2" name="Freeform 462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483720" y="3565944"/>
              <a:ext cx="67055" cy="55049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1852024176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3" name="Freeform 463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599812" y="4270881"/>
              <a:ext cx="179830" cy="152915"/>
            </a:xfrm>
            <a:custGeom>
              <a:avLst/>
              <a:gdLst>
                <a:gd name="T0" fmla="*/ 2147483647 w 426"/>
                <a:gd name="T1" fmla="*/ 2140277759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1805333115 w 426"/>
                <a:gd name="T107" fmla="*/ 2147483647 h 299"/>
                <a:gd name="T108" fmla="*/ 601777916 w 426"/>
                <a:gd name="T109" fmla="*/ 2147483647 h 299"/>
                <a:gd name="T110" fmla="*/ 1128355676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1738795755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4" name="Freeform 464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562697" y="3561356"/>
              <a:ext cx="664455" cy="842561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5" name="Freeform 465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759831" y="4327460"/>
              <a:ext cx="152398" cy="198789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994557924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1798220014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6" name="Freeform 466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785468" y="4515545"/>
              <a:ext cx="184402" cy="261485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1499827763 h 523"/>
                <a:gd name="T44" fmla="*/ 2147483647 w 449"/>
                <a:gd name="T45" fmla="*/ 749913881 h 523"/>
                <a:gd name="T46" fmla="*/ 2147483647 w 449"/>
                <a:gd name="T47" fmla="*/ 999884925 h 523"/>
                <a:gd name="T48" fmla="*/ 2147483647 w 449"/>
                <a:gd name="T49" fmla="*/ 749913881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346280269 w 449"/>
                <a:gd name="T55" fmla="*/ 0 h 523"/>
                <a:gd name="T56" fmla="*/ 346280269 w 449"/>
                <a:gd name="T57" fmla="*/ 2147483647 h 523"/>
                <a:gd name="T58" fmla="*/ 346280269 w 449"/>
                <a:gd name="T59" fmla="*/ 2147483647 h 523"/>
                <a:gd name="T60" fmla="*/ 1039008885 w 449"/>
                <a:gd name="T61" fmla="*/ 2147483647 h 523"/>
                <a:gd name="T62" fmla="*/ 1593259542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008863342 w 449"/>
                <a:gd name="T71" fmla="*/ 2147483647 h 523"/>
                <a:gd name="T72" fmla="*/ 484927229 w 449"/>
                <a:gd name="T73" fmla="*/ 2147483647 h 523"/>
                <a:gd name="T74" fmla="*/ 692728924 w 449"/>
                <a:gd name="T75" fmla="*/ 2147483647 h 523"/>
                <a:gd name="T76" fmla="*/ 1939539709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7" name="Freeform 467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768705" y="3634755"/>
              <a:ext cx="97535" cy="125390"/>
            </a:xfrm>
            <a:custGeom>
              <a:avLst/>
              <a:gdLst>
                <a:gd name="T0" fmla="*/ 964605785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794498622 h 246"/>
                <a:gd name="T42" fmla="*/ 2147483647 w 226"/>
                <a:gd name="T43" fmla="*/ 132503078 h 246"/>
                <a:gd name="T44" fmla="*/ 2147483647 w 226"/>
                <a:gd name="T45" fmla="*/ 927001669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1929211569 w 226"/>
                <a:gd name="T61" fmla="*/ 2147483647 h 246"/>
                <a:gd name="T62" fmla="*/ 1446816105 w 226"/>
                <a:gd name="T63" fmla="*/ 2147483647 h 246"/>
                <a:gd name="T64" fmla="*/ 803869658 w 226"/>
                <a:gd name="T65" fmla="*/ 2147483647 h 246"/>
                <a:gd name="T66" fmla="*/ 241198056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8" name="Freeform 468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055213" y="3734150"/>
              <a:ext cx="21336" cy="53520"/>
            </a:xfrm>
            <a:custGeom>
              <a:avLst/>
              <a:gdLst>
                <a:gd name="T0" fmla="*/ 1214059696 w 60"/>
                <a:gd name="T1" fmla="*/ 0 h 81"/>
                <a:gd name="T2" fmla="*/ 1303966022 w 60"/>
                <a:gd name="T3" fmla="*/ 576720235 h 81"/>
                <a:gd name="T4" fmla="*/ 1438889873 w 60"/>
                <a:gd name="T5" fmla="*/ 865298150 h 81"/>
                <a:gd name="T6" fmla="*/ 1618829472 w 60"/>
                <a:gd name="T7" fmla="*/ 865298150 h 81"/>
                <a:gd name="T8" fmla="*/ 1798643545 w 60"/>
                <a:gd name="T9" fmla="*/ 576720235 h 81"/>
                <a:gd name="T10" fmla="*/ 2113380758 w 60"/>
                <a:gd name="T11" fmla="*/ 288578492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899321772 w 60"/>
                <a:gd name="T27" fmla="*/ 2147483647 h 81"/>
                <a:gd name="T28" fmla="*/ 629474959 w 60"/>
                <a:gd name="T29" fmla="*/ 2147483647 h 81"/>
                <a:gd name="T30" fmla="*/ 314737302 w 60"/>
                <a:gd name="T31" fmla="*/ 2147483647 h 81"/>
                <a:gd name="T32" fmla="*/ 224830621 w 60"/>
                <a:gd name="T33" fmla="*/ 2147483647 h 81"/>
                <a:gd name="T34" fmla="*/ 89907059 w 60"/>
                <a:gd name="T35" fmla="*/ 2147483647 h 81"/>
                <a:gd name="T36" fmla="*/ 45016826 w 60"/>
                <a:gd name="T37" fmla="*/ 2147483647 h 81"/>
                <a:gd name="T38" fmla="*/ 0 w 60"/>
                <a:gd name="T39" fmla="*/ 2147483647 h 81"/>
                <a:gd name="T40" fmla="*/ 314737302 w 60"/>
                <a:gd name="T41" fmla="*/ 2147483647 h 81"/>
                <a:gd name="T42" fmla="*/ 899321772 w 60"/>
                <a:gd name="T43" fmla="*/ 1730596299 h 81"/>
                <a:gd name="T44" fmla="*/ 1528797265 w 60"/>
                <a:gd name="T45" fmla="*/ 0 h 81"/>
                <a:gd name="T46" fmla="*/ 1214059696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19" name="Freeform 469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370946" y="2900764"/>
              <a:ext cx="155446" cy="64224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1851055784 h 129"/>
                <a:gd name="T22" fmla="*/ 2147483647 w 370"/>
                <a:gd name="T23" fmla="*/ 1110682858 h 129"/>
                <a:gd name="T24" fmla="*/ 2147483647 w 370"/>
                <a:gd name="T25" fmla="*/ 246873516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123437007 h 129"/>
                <a:gd name="T32" fmla="*/ 2147483647 w 370"/>
                <a:gd name="T33" fmla="*/ 246873516 h 129"/>
                <a:gd name="T34" fmla="*/ 2147483647 w 370"/>
                <a:gd name="T35" fmla="*/ 370310555 h 129"/>
                <a:gd name="T36" fmla="*/ 2147483647 w 370"/>
                <a:gd name="T37" fmla="*/ 863809653 h 129"/>
                <a:gd name="T38" fmla="*/ 2147483647 w 370"/>
                <a:gd name="T39" fmla="*/ 1480745354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1557298266 w 370"/>
                <a:gd name="T63" fmla="*/ 2147483647 h 129"/>
                <a:gd name="T64" fmla="*/ 1186463050 w 370"/>
                <a:gd name="T65" fmla="*/ 2147483647 h 129"/>
                <a:gd name="T66" fmla="*/ 889758746 w 370"/>
                <a:gd name="T67" fmla="*/ 2147483647 h 129"/>
                <a:gd name="T68" fmla="*/ 667363278 w 370"/>
                <a:gd name="T69" fmla="*/ 2147483647 h 129"/>
                <a:gd name="T70" fmla="*/ 370835741 w 370"/>
                <a:gd name="T71" fmla="*/ 2147483647 h 129"/>
                <a:gd name="T72" fmla="*/ 222395784 w 370"/>
                <a:gd name="T73" fmla="*/ 2147483647 h 129"/>
                <a:gd name="T74" fmla="*/ 74131779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74131779 w 370"/>
                <a:gd name="T81" fmla="*/ 2147483647 h 129"/>
                <a:gd name="T82" fmla="*/ 222395784 w 370"/>
                <a:gd name="T83" fmla="*/ 2147483647 h 129"/>
                <a:gd name="T84" fmla="*/ 444967599 w 370"/>
                <a:gd name="T85" fmla="*/ 2147483647 h 129"/>
                <a:gd name="T86" fmla="*/ 815627204 w 370"/>
                <a:gd name="T87" fmla="*/ 2147483647 h 129"/>
                <a:gd name="T88" fmla="*/ 1482990061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0" name="Freeform 470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765657" y="3594998"/>
              <a:ext cx="28955" cy="55049"/>
            </a:xfrm>
            <a:custGeom>
              <a:avLst/>
              <a:gdLst>
                <a:gd name="T0" fmla="*/ 1280119244 w 80"/>
                <a:gd name="T1" fmla="*/ 200974537 h 94"/>
                <a:gd name="T2" fmla="*/ 1612069734 w 80"/>
                <a:gd name="T3" fmla="*/ 0 h 94"/>
                <a:gd name="T4" fmla="*/ 1943889564 w 80"/>
                <a:gd name="T5" fmla="*/ 0 h 94"/>
                <a:gd name="T6" fmla="*/ 2147483647 w 80"/>
                <a:gd name="T7" fmla="*/ 401605896 h 94"/>
                <a:gd name="T8" fmla="*/ 2147483647 w 80"/>
                <a:gd name="T9" fmla="*/ 803554970 h 94"/>
                <a:gd name="T10" fmla="*/ 2147483647 w 80"/>
                <a:gd name="T11" fmla="*/ 1205160720 h 94"/>
                <a:gd name="T12" fmla="*/ 2147483647 w 80"/>
                <a:gd name="T13" fmla="*/ 1606766762 h 94"/>
                <a:gd name="T14" fmla="*/ 2147483647 w 80"/>
                <a:gd name="T15" fmla="*/ 1606766762 h 94"/>
                <a:gd name="T16" fmla="*/ 2147483647 w 80"/>
                <a:gd name="T17" fmla="*/ 1405792299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038733078 w 80"/>
                <a:gd name="T33" fmla="*/ 2147483647 h 94"/>
                <a:gd name="T34" fmla="*/ 1896598828 w 80"/>
                <a:gd name="T35" fmla="*/ 2147483647 h 94"/>
                <a:gd name="T36" fmla="*/ 1754334281 w 80"/>
                <a:gd name="T37" fmla="*/ 2147483647 h 94"/>
                <a:gd name="T38" fmla="*/ 1612069734 w 80"/>
                <a:gd name="T39" fmla="*/ 2147483647 h 94"/>
                <a:gd name="T40" fmla="*/ 1374962758 w 80"/>
                <a:gd name="T41" fmla="*/ 2147483647 h 94"/>
                <a:gd name="T42" fmla="*/ 1090564685 w 80"/>
                <a:gd name="T43" fmla="*/ 2147483647 h 94"/>
                <a:gd name="T44" fmla="*/ 900878381 w 80"/>
                <a:gd name="T45" fmla="*/ 2147483647 h 94"/>
                <a:gd name="T46" fmla="*/ 616349106 w 80"/>
                <a:gd name="T47" fmla="*/ 2147483647 h 94"/>
                <a:gd name="T48" fmla="*/ 331950942 w 80"/>
                <a:gd name="T49" fmla="*/ 2147483647 h 94"/>
                <a:gd name="T50" fmla="*/ 0 w 80"/>
                <a:gd name="T51" fmla="*/ 2147483647 h 94"/>
                <a:gd name="T52" fmla="*/ 379372337 w 80"/>
                <a:gd name="T53" fmla="*/ 2147483647 h 94"/>
                <a:gd name="T54" fmla="*/ 616349106 w 80"/>
                <a:gd name="T55" fmla="*/ 2147483647 h 94"/>
                <a:gd name="T56" fmla="*/ 900878381 w 80"/>
                <a:gd name="T57" fmla="*/ 2147483647 h 94"/>
                <a:gd name="T58" fmla="*/ 1280119244 w 80"/>
                <a:gd name="T59" fmla="*/ 20097453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1" name="Freeform 471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588875" y="5532428"/>
              <a:ext cx="59435" cy="55049"/>
            </a:xfrm>
            <a:custGeom>
              <a:avLst/>
              <a:gdLst>
                <a:gd name="T0" fmla="*/ 256046855 w 135"/>
                <a:gd name="T1" fmla="*/ 2147483647 h 98"/>
                <a:gd name="T2" fmla="*/ 938710242 w 135"/>
                <a:gd name="T3" fmla="*/ 2147483647 h 98"/>
                <a:gd name="T4" fmla="*/ 1536088075 w 135"/>
                <a:gd name="T5" fmla="*/ 2147483647 h 98"/>
                <a:gd name="T6" fmla="*/ 2047987411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1418011805 h 98"/>
                <a:gd name="T18" fmla="*/ 2147483647 w 135"/>
                <a:gd name="T19" fmla="*/ 886336090 h 98"/>
                <a:gd name="T20" fmla="*/ 2147483647 w 135"/>
                <a:gd name="T21" fmla="*/ 354345388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531675575 h 98"/>
                <a:gd name="T30" fmla="*/ 2147483647 w 135"/>
                <a:gd name="T31" fmla="*/ 1063351150 h 98"/>
                <a:gd name="T32" fmla="*/ 2147483647 w 135"/>
                <a:gd name="T33" fmla="*/ 1949687239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1791941106 w 135"/>
                <a:gd name="T69" fmla="*/ 2147483647 h 98"/>
                <a:gd name="T70" fmla="*/ 938710242 w 135"/>
                <a:gd name="T71" fmla="*/ 2147483647 h 98"/>
                <a:gd name="T72" fmla="*/ 426615982 w 135"/>
                <a:gd name="T73" fmla="*/ 2147483647 h 98"/>
                <a:gd name="T74" fmla="*/ 85284371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56046855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2" name="Freeform 472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369422" y="2946639"/>
              <a:ext cx="126490" cy="81045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1858259158 h 155"/>
                <a:gd name="T62" fmla="*/ 2147483647 w 312"/>
                <a:gd name="T63" fmla="*/ 1286592006 h 155"/>
                <a:gd name="T64" fmla="*/ 2147483647 w 312"/>
                <a:gd name="T65" fmla="*/ 857636937 h 155"/>
                <a:gd name="T66" fmla="*/ 2147483647 w 312"/>
                <a:gd name="T67" fmla="*/ 428955461 h 155"/>
                <a:gd name="T68" fmla="*/ 2147483647 w 312"/>
                <a:gd name="T69" fmla="*/ 142985350 h 155"/>
                <a:gd name="T70" fmla="*/ 2147483647 w 312"/>
                <a:gd name="T71" fmla="*/ 0 h 155"/>
                <a:gd name="T72" fmla="*/ 2147483647 w 312"/>
                <a:gd name="T73" fmla="*/ 142985350 h 155"/>
                <a:gd name="T74" fmla="*/ 2147483647 w 312"/>
                <a:gd name="T75" fmla="*/ 571666891 h 155"/>
                <a:gd name="T76" fmla="*/ 2147483647 w 312"/>
                <a:gd name="T77" fmla="*/ 857636937 h 155"/>
                <a:gd name="T78" fmla="*/ 2147483647 w 312"/>
                <a:gd name="T79" fmla="*/ 1143606721 h 155"/>
                <a:gd name="T80" fmla="*/ 1199518390 w 312"/>
                <a:gd name="T81" fmla="*/ 1429577290 h 155"/>
                <a:gd name="T82" fmla="*/ 466461491 w 312"/>
                <a:gd name="T83" fmla="*/ 1715273874 h 155"/>
                <a:gd name="T84" fmla="*/ 599759195 w 312"/>
                <a:gd name="T85" fmla="*/ 2147483647 h 155"/>
                <a:gd name="T86" fmla="*/ 733057305 w 312"/>
                <a:gd name="T87" fmla="*/ 2147483647 h 155"/>
                <a:gd name="T88" fmla="*/ 866191424 w 312"/>
                <a:gd name="T89" fmla="*/ 2147483647 h 155"/>
                <a:gd name="T90" fmla="*/ 999489129 w 312"/>
                <a:gd name="T91" fmla="*/ 2147483647 h 155"/>
                <a:gd name="T92" fmla="*/ 1199518390 w 312"/>
                <a:gd name="T93" fmla="*/ 2147483647 h 155"/>
                <a:gd name="T94" fmla="*/ 1266085348 w 312"/>
                <a:gd name="T95" fmla="*/ 2147483647 h 155"/>
                <a:gd name="T96" fmla="*/ 1332652307 w 312"/>
                <a:gd name="T97" fmla="*/ 2147483647 h 155"/>
                <a:gd name="T98" fmla="*/ 1332652307 w 312"/>
                <a:gd name="T99" fmla="*/ 2147483647 h 155"/>
                <a:gd name="T100" fmla="*/ 1332652307 w 312"/>
                <a:gd name="T101" fmla="*/ 2147483647 h 155"/>
                <a:gd name="T102" fmla="*/ 1266085348 w 312"/>
                <a:gd name="T103" fmla="*/ 2147483647 h 155"/>
                <a:gd name="T104" fmla="*/ 1199518390 w 312"/>
                <a:gd name="T105" fmla="*/ 2147483647 h 155"/>
                <a:gd name="T106" fmla="*/ 999489129 w 312"/>
                <a:gd name="T107" fmla="*/ 2147483647 h 155"/>
                <a:gd name="T108" fmla="*/ 799624263 w 312"/>
                <a:gd name="T109" fmla="*/ 2147483647 h 155"/>
                <a:gd name="T110" fmla="*/ 599759195 w 312"/>
                <a:gd name="T111" fmla="*/ 2147483647 h 155"/>
                <a:gd name="T112" fmla="*/ 266596321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3" name="Freeform 473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5087486" y="3125550"/>
              <a:ext cx="18288" cy="58108"/>
            </a:xfrm>
            <a:custGeom>
              <a:avLst/>
              <a:gdLst>
                <a:gd name="T0" fmla="*/ 0 w 46"/>
                <a:gd name="T1" fmla="*/ 2147483647 h 50"/>
                <a:gd name="T2" fmla="*/ 125656061 w 46"/>
                <a:gd name="T3" fmla="*/ 2147483647 h 50"/>
                <a:gd name="T4" fmla="*/ 62907146 w 46"/>
                <a:gd name="T5" fmla="*/ 2147483647 h 50"/>
                <a:gd name="T6" fmla="*/ 125656061 w 46"/>
                <a:gd name="T7" fmla="*/ 2147483647 h 50"/>
                <a:gd name="T8" fmla="*/ 188563182 w 46"/>
                <a:gd name="T9" fmla="*/ 2147483647 h 50"/>
                <a:gd name="T10" fmla="*/ 376968531 w 46"/>
                <a:gd name="T11" fmla="*/ 2147483647 h 50"/>
                <a:gd name="T12" fmla="*/ 816844182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073722545 w 46"/>
                <a:gd name="T21" fmla="*/ 2147483647 h 50"/>
                <a:gd name="T22" fmla="*/ 1570939076 w 46"/>
                <a:gd name="T23" fmla="*/ 2147483647 h 50"/>
                <a:gd name="T24" fmla="*/ 1068314237 w 46"/>
                <a:gd name="T25" fmla="*/ 2147483647 h 50"/>
                <a:gd name="T26" fmla="*/ 314219640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4" name="Freeform 474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756513" y="4940648"/>
              <a:ext cx="67055" cy="232430"/>
            </a:xfrm>
            <a:custGeom>
              <a:avLst/>
              <a:gdLst>
                <a:gd name="T0" fmla="*/ 659052451 w 166"/>
                <a:gd name="T1" fmla="*/ 2147483647 h 456"/>
                <a:gd name="T2" fmla="*/ 1252346592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1059502053 h 456"/>
                <a:gd name="T78" fmla="*/ 2147483647 w 166"/>
                <a:gd name="T79" fmla="*/ 529751281 h 456"/>
                <a:gd name="T80" fmla="*/ 790895459 w 166"/>
                <a:gd name="T81" fmla="*/ 1324247653 h 456"/>
                <a:gd name="T82" fmla="*/ 1450111103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1911398841 w 166"/>
                <a:gd name="T95" fmla="*/ 2147483647 h 456"/>
                <a:gd name="T96" fmla="*/ 988660576 w 166"/>
                <a:gd name="T97" fmla="*/ 2147483647 h 456"/>
                <a:gd name="T98" fmla="*/ 197764562 w 166"/>
                <a:gd name="T99" fmla="*/ 2147483647 h 456"/>
                <a:gd name="T100" fmla="*/ 461451133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5" name="Freeform 475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268840" y="3564415"/>
              <a:ext cx="13715" cy="55049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1179696408 w 27"/>
                <a:gd name="T7" fmla="*/ 2147483647 h 19"/>
                <a:gd name="T8" fmla="*/ 0 w 27"/>
                <a:gd name="T9" fmla="*/ 2147483647 h 19"/>
                <a:gd name="T10" fmla="*/ 1179696408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6" name="Freeform 476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575159" y="5125675"/>
              <a:ext cx="181354" cy="209493"/>
            </a:xfrm>
            <a:custGeom>
              <a:avLst/>
              <a:gdLst>
                <a:gd name="T0" fmla="*/ 2147483647 w 438"/>
                <a:gd name="T1" fmla="*/ 1099072703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1703574823 w 438"/>
                <a:gd name="T59" fmla="*/ 2147483647 h 406"/>
                <a:gd name="T60" fmla="*/ 922848555 w 438"/>
                <a:gd name="T61" fmla="*/ 2147483647 h 406"/>
                <a:gd name="T62" fmla="*/ 283900602 w 438"/>
                <a:gd name="T63" fmla="*/ 2147483647 h 406"/>
                <a:gd name="T64" fmla="*/ 0 w 438"/>
                <a:gd name="T65" fmla="*/ 2147483647 h 406"/>
                <a:gd name="T66" fmla="*/ 1277724282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1648609828 h 406"/>
                <a:gd name="T98" fmla="*/ 2147483647 w 438"/>
                <a:gd name="T99" fmla="*/ 1648609828 h 406"/>
                <a:gd name="T100" fmla="*/ 2147483647 w 438"/>
                <a:gd name="T101" fmla="*/ 1236457758 h 406"/>
                <a:gd name="T102" fmla="*/ 2147483647 w 438"/>
                <a:gd name="T103" fmla="*/ 549536867 h 406"/>
                <a:gd name="T104" fmla="*/ 2147483647 w 438"/>
                <a:gd name="T105" fmla="*/ 274768176 h 406"/>
                <a:gd name="T106" fmla="*/ 2147483647 w 438"/>
                <a:gd name="T107" fmla="*/ 412152715 h 406"/>
                <a:gd name="T108" fmla="*/ 2147483647 w 438"/>
                <a:gd name="T109" fmla="*/ 137384088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7" name="Freeform 477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491340" y="4910065"/>
              <a:ext cx="281936" cy="289009"/>
            </a:xfrm>
            <a:custGeom>
              <a:avLst/>
              <a:gdLst>
                <a:gd name="T0" fmla="*/ 2147483647 w 678"/>
                <a:gd name="T1" fmla="*/ 1021147160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1276433888 h 574"/>
                <a:gd name="T112" fmla="*/ 2147483647 w 678"/>
                <a:gd name="T113" fmla="*/ 765860685 h 574"/>
                <a:gd name="T114" fmla="*/ 2147483647 w 678"/>
                <a:gd name="T115" fmla="*/ 1021147160 h 574"/>
                <a:gd name="T116" fmla="*/ 2147483647 w 678"/>
                <a:gd name="T117" fmla="*/ 127770151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8" name="Freeform 478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5238360" y="5173078"/>
              <a:ext cx="336799" cy="366995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643192344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503284623 w 810"/>
                <a:gd name="T25" fmla="*/ 2147483647 h 727"/>
                <a:gd name="T26" fmla="*/ 186911995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29" name="Freeform 479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46474" y="4142432"/>
              <a:ext cx="155446" cy="136095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008345465 w 365"/>
                <a:gd name="T11" fmla="*/ 2147483647 h 271"/>
                <a:gd name="T12" fmla="*/ 1544937245 w 365"/>
                <a:gd name="T13" fmla="*/ 2147483647 h 271"/>
                <a:gd name="T14" fmla="*/ 1313142209 w 365"/>
                <a:gd name="T15" fmla="*/ 2147483647 h 271"/>
                <a:gd name="T16" fmla="*/ 1390407789 w 365"/>
                <a:gd name="T17" fmla="*/ 2147483647 h 271"/>
                <a:gd name="T18" fmla="*/ 2008345465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008345465 w 365"/>
                <a:gd name="T55" fmla="*/ 2147483647 h 271"/>
                <a:gd name="T56" fmla="*/ 1004082446 w 365"/>
                <a:gd name="T57" fmla="*/ 2147483647 h 271"/>
                <a:gd name="T58" fmla="*/ 849733776 w 365"/>
                <a:gd name="T59" fmla="*/ 2147483647 h 271"/>
                <a:gd name="T60" fmla="*/ 463408859 w 365"/>
                <a:gd name="T61" fmla="*/ 2147483647 h 271"/>
                <a:gd name="T62" fmla="*/ 154529935 w 365"/>
                <a:gd name="T63" fmla="*/ 2147483647 h 271"/>
                <a:gd name="T64" fmla="*/ 0 w 365"/>
                <a:gd name="T65" fmla="*/ 2147483647 h 271"/>
                <a:gd name="T66" fmla="*/ 386143599 w 365"/>
                <a:gd name="T67" fmla="*/ 2147483647 h 271"/>
                <a:gd name="T68" fmla="*/ 1313142209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1899824579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0" name="Freeform 480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672693" y="4683751"/>
              <a:ext cx="259076" cy="322651"/>
            </a:xfrm>
            <a:custGeom>
              <a:avLst/>
              <a:gdLst>
                <a:gd name="T0" fmla="*/ 2147483647 w 624"/>
                <a:gd name="T1" fmla="*/ 1537663838 h 640"/>
                <a:gd name="T2" fmla="*/ 2147483647 w 624"/>
                <a:gd name="T3" fmla="*/ 1537663838 h 640"/>
                <a:gd name="T4" fmla="*/ 2147483647 w 624"/>
                <a:gd name="T5" fmla="*/ 640735488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1932371564 w 624"/>
                <a:gd name="T85" fmla="*/ 2147483647 h 640"/>
                <a:gd name="T86" fmla="*/ 858793632 w 624"/>
                <a:gd name="T87" fmla="*/ 2147483647 h 640"/>
                <a:gd name="T88" fmla="*/ 357859484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71571896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102502427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1" name="Freeform 481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8133920" y="3252468"/>
              <a:ext cx="18288" cy="55049"/>
            </a:xfrm>
            <a:custGeom>
              <a:avLst/>
              <a:gdLst>
                <a:gd name="T0" fmla="*/ 565499084 w 52"/>
                <a:gd name="T1" fmla="*/ 2147483647 h 50"/>
                <a:gd name="T2" fmla="*/ 0 w 52"/>
                <a:gd name="T3" fmla="*/ 2147483647 h 50"/>
                <a:gd name="T4" fmla="*/ 86952403 w 52"/>
                <a:gd name="T5" fmla="*/ 2147483647 h 50"/>
                <a:gd name="T6" fmla="*/ 260980674 w 52"/>
                <a:gd name="T7" fmla="*/ 2147483647 h 50"/>
                <a:gd name="T8" fmla="*/ 521961348 w 52"/>
                <a:gd name="T9" fmla="*/ 2147483647 h 50"/>
                <a:gd name="T10" fmla="*/ 782941758 w 52"/>
                <a:gd name="T11" fmla="*/ 2147483647 h 50"/>
                <a:gd name="T12" fmla="*/ 1130998168 w 52"/>
                <a:gd name="T13" fmla="*/ 2147483647 h 50"/>
                <a:gd name="T14" fmla="*/ 1479054930 w 52"/>
                <a:gd name="T15" fmla="*/ 2147483647 h 50"/>
                <a:gd name="T16" fmla="*/ 1870524930 w 52"/>
                <a:gd name="T17" fmla="*/ 1334584979 h 50"/>
                <a:gd name="T18" fmla="*/ 2147483647 w 52"/>
                <a:gd name="T19" fmla="*/ 0 h 50"/>
                <a:gd name="T20" fmla="*/ 1740034461 w 52"/>
                <a:gd name="T21" fmla="*/ 2147483647 h 50"/>
                <a:gd name="T22" fmla="*/ 1174536256 w 52"/>
                <a:gd name="T23" fmla="*/ 2147483647 h 50"/>
                <a:gd name="T24" fmla="*/ 956969611 w 52"/>
                <a:gd name="T25" fmla="*/ 2147483647 h 50"/>
                <a:gd name="T26" fmla="*/ 739527465 w 52"/>
                <a:gd name="T27" fmla="*/ 2147483647 h 50"/>
                <a:gd name="T28" fmla="*/ 609037172 w 52"/>
                <a:gd name="T29" fmla="*/ 2147483647 h 50"/>
                <a:gd name="T30" fmla="*/ 565499084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2" name="Freeform 482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998285" y="3253998"/>
              <a:ext cx="135635" cy="12080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1522950313 w 320"/>
                <a:gd name="T41" fmla="*/ 2147483647 h 234"/>
                <a:gd name="T42" fmla="*/ 533041744 w 320"/>
                <a:gd name="T43" fmla="*/ 1375733601 h 234"/>
                <a:gd name="T44" fmla="*/ 685390732 w 320"/>
                <a:gd name="T45" fmla="*/ 0 h 234"/>
                <a:gd name="T46" fmla="*/ 1827647867 w 320"/>
                <a:gd name="T47" fmla="*/ 0 h 234"/>
                <a:gd name="T48" fmla="*/ 2147483647 w 320"/>
                <a:gd name="T49" fmla="*/ 412826918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3" name="Freeform 483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969330" y="3594998"/>
              <a:ext cx="50291" cy="55049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1659025375 h 93"/>
                <a:gd name="T16" fmla="*/ 2147483647 w 125"/>
                <a:gd name="T17" fmla="*/ 1037109501 h 93"/>
                <a:gd name="T18" fmla="*/ 2147483647 w 125"/>
                <a:gd name="T19" fmla="*/ 622265701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1758370071 w 125"/>
                <a:gd name="T59" fmla="*/ 2147483647 h 93"/>
                <a:gd name="T60" fmla="*/ 1041942765 w 125"/>
                <a:gd name="T61" fmla="*/ 2147483647 h 93"/>
                <a:gd name="T62" fmla="*/ 455820011 w 125"/>
                <a:gd name="T63" fmla="*/ 2147483647 h 93"/>
                <a:gd name="T64" fmla="*/ 260445458 w 125"/>
                <a:gd name="T65" fmla="*/ 2147483647 h 93"/>
                <a:gd name="T66" fmla="*/ 13030359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455820011 w 125"/>
                <a:gd name="T73" fmla="*/ 2147483647 h 93"/>
                <a:gd name="T74" fmla="*/ 976871860 w 125"/>
                <a:gd name="T75" fmla="*/ 2147483647 h 93"/>
                <a:gd name="T76" fmla="*/ 1302549859 w 125"/>
                <a:gd name="T77" fmla="*/ 2147483647 h 93"/>
                <a:gd name="T78" fmla="*/ 1497924311 w 125"/>
                <a:gd name="T79" fmla="*/ 2147483647 h 93"/>
                <a:gd name="T80" fmla="*/ 182344097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4" name="Freeform 484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917515" y="3608760"/>
              <a:ext cx="57911" cy="81044"/>
            </a:xfrm>
            <a:custGeom>
              <a:avLst/>
              <a:gdLst>
                <a:gd name="T0" fmla="*/ 1650962170 w 133"/>
                <a:gd name="T1" fmla="*/ 1748934616 h 154"/>
                <a:gd name="T2" fmla="*/ 1981230193 w 133"/>
                <a:gd name="T3" fmla="*/ 1457583656 h 154"/>
                <a:gd name="T4" fmla="*/ 2147483647 w 133"/>
                <a:gd name="T5" fmla="*/ 874605714 h 154"/>
                <a:gd name="T6" fmla="*/ 2147483647 w 133"/>
                <a:gd name="T7" fmla="*/ 582978468 h 154"/>
                <a:gd name="T8" fmla="*/ 2147483647 w 133"/>
                <a:gd name="T9" fmla="*/ 291627904 h 154"/>
                <a:gd name="T10" fmla="*/ 2147483647 w 133"/>
                <a:gd name="T11" fmla="*/ 145675546 h 154"/>
                <a:gd name="T12" fmla="*/ 2147483647 w 133"/>
                <a:gd name="T13" fmla="*/ 0 h 154"/>
                <a:gd name="T14" fmla="*/ 2147483647 w 133"/>
                <a:gd name="T15" fmla="*/ 145675546 h 154"/>
                <a:gd name="T16" fmla="*/ 2147483647 w 133"/>
                <a:gd name="T17" fmla="*/ 582978468 h 154"/>
                <a:gd name="T18" fmla="*/ 2147483647 w 133"/>
                <a:gd name="T19" fmla="*/ 1165956937 h 154"/>
                <a:gd name="T20" fmla="*/ 2147483647 w 133"/>
                <a:gd name="T21" fmla="*/ 2040562388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063892230 w 133"/>
                <a:gd name="T87" fmla="*/ 2147483647 h 154"/>
                <a:gd name="T88" fmla="*/ 1403355748 w 133"/>
                <a:gd name="T89" fmla="*/ 2147483647 h 154"/>
                <a:gd name="T90" fmla="*/ 1073087290 w 133"/>
                <a:gd name="T91" fmla="*/ 2147483647 h 154"/>
                <a:gd name="T92" fmla="*/ 825481085 w 133"/>
                <a:gd name="T93" fmla="*/ 2147483647 h 154"/>
                <a:gd name="T94" fmla="*/ 577874663 w 133"/>
                <a:gd name="T95" fmla="*/ 2147483647 h 154"/>
                <a:gd name="T96" fmla="*/ 330268132 w 133"/>
                <a:gd name="T97" fmla="*/ 2147483647 h 154"/>
                <a:gd name="T98" fmla="*/ 165134284 w 133"/>
                <a:gd name="T99" fmla="*/ 2147483647 h 154"/>
                <a:gd name="T100" fmla="*/ 82472220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577874663 w 133"/>
                <a:gd name="T107" fmla="*/ 2147483647 h 154"/>
                <a:gd name="T108" fmla="*/ 1650962170 w 133"/>
                <a:gd name="T109" fmla="*/ 174893461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5" name="Freeform 485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932755" y="3379388"/>
              <a:ext cx="201165" cy="235489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12735526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1926640089 w 485"/>
                <a:gd name="T111" fmla="*/ 2147483647 h 468"/>
                <a:gd name="T112" fmla="*/ 499423095 w 485"/>
                <a:gd name="T113" fmla="*/ 2147483647 h 468"/>
                <a:gd name="T114" fmla="*/ 0 w 485"/>
                <a:gd name="T115" fmla="*/ 2147483647 h 468"/>
                <a:gd name="T116" fmla="*/ 499423095 w 485"/>
                <a:gd name="T117" fmla="*/ 2147483647 h 468"/>
                <a:gd name="T118" fmla="*/ 1926640089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6" name="Freeform 486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5613259" y="2310513"/>
              <a:ext cx="103631" cy="58108"/>
            </a:xfrm>
            <a:custGeom>
              <a:avLst/>
              <a:gdLst>
                <a:gd name="T0" fmla="*/ 2018469353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1046680002 w 246"/>
                <a:gd name="T91" fmla="*/ 2147483647 h 42"/>
                <a:gd name="T92" fmla="*/ 0 w 246"/>
                <a:gd name="T93" fmla="*/ 2147483647 h 42"/>
                <a:gd name="T94" fmla="*/ 74712061 w 246"/>
                <a:gd name="T95" fmla="*/ 2147483647 h 42"/>
                <a:gd name="T96" fmla="*/ 224313983 w 246"/>
                <a:gd name="T97" fmla="*/ 2147483647 h 42"/>
                <a:gd name="T98" fmla="*/ 373738053 w 246"/>
                <a:gd name="T99" fmla="*/ 2147483647 h 42"/>
                <a:gd name="T100" fmla="*/ 672764492 w 246"/>
                <a:gd name="T101" fmla="*/ 2147483647 h 42"/>
                <a:gd name="T102" fmla="*/ 1270816106 w 246"/>
                <a:gd name="T103" fmla="*/ 2147483647 h 42"/>
                <a:gd name="T104" fmla="*/ 2018469353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7" name="Freeform 487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750417" y="2293693"/>
              <a:ext cx="60959" cy="55049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734591044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1711960808 w 149"/>
                <a:gd name="T57" fmla="*/ 2147483647 h 61"/>
                <a:gd name="T58" fmla="*/ 821667456 w 149"/>
                <a:gd name="T59" fmla="*/ 2147483647 h 61"/>
                <a:gd name="T60" fmla="*/ 205374929 w 149"/>
                <a:gd name="T61" fmla="*/ 2147483647 h 61"/>
                <a:gd name="T62" fmla="*/ 68458182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05374929 w 149"/>
                <a:gd name="T69" fmla="*/ 2147483647 h 61"/>
                <a:gd name="T70" fmla="*/ 1301043313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8" name="Freeform 488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785468" y="2301338"/>
              <a:ext cx="124966" cy="55049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1235178166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876016527 w 299"/>
                <a:gd name="T63" fmla="*/ 2147483647 h 74"/>
                <a:gd name="T64" fmla="*/ 146031749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39" name="Freeform 489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297525" y="2480249"/>
              <a:ext cx="39623" cy="55049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1679566948 w 100"/>
                <a:gd name="T23" fmla="*/ 2147483647 h 42"/>
                <a:gd name="T24" fmla="*/ 746526611 w 100"/>
                <a:gd name="T25" fmla="*/ 2147483647 h 42"/>
                <a:gd name="T26" fmla="*/ 62171266 w 100"/>
                <a:gd name="T27" fmla="*/ 2147483647 h 42"/>
                <a:gd name="T28" fmla="*/ 0 w 100"/>
                <a:gd name="T29" fmla="*/ 2147483647 h 42"/>
                <a:gd name="T30" fmla="*/ 373184852 w 100"/>
                <a:gd name="T31" fmla="*/ 2147483647 h 42"/>
                <a:gd name="T32" fmla="*/ 746526611 w 100"/>
                <a:gd name="T33" fmla="*/ 2147483647 h 42"/>
                <a:gd name="T34" fmla="*/ 1119711166 w 100"/>
                <a:gd name="T35" fmla="*/ 2147483647 h 42"/>
                <a:gd name="T36" fmla="*/ 1430724678 w 100"/>
                <a:gd name="T37" fmla="*/ 2147483647 h 42"/>
                <a:gd name="T38" fmla="*/ 2052907419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0" name="Freeform 490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210659" y="2344155"/>
              <a:ext cx="15240" cy="56579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76531695 w 40"/>
                <a:gd name="T5" fmla="*/ 2147483647 h 5"/>
                <a:gd name="T6" fmla="*/ 497757070 w 40"/>
                <a:gd name="T7" fmla="*/ 2147483647 h 5"/>
                <a:gd name="T8" fmla="*/ 829594799 w 40"/>
                <a:gd name="T9" fmla="*/ 0 h 5"/>
                <a:gd name="T10" fmla="*/ 1106126779 w 40"/>
                <a:gd name="T11" fmla="*/ 0 h 5"/>
                <a:gd name="T12" fmla="*/ 1382657998 w 40"/>
                <a:gd name="T13" fmla="*/ 0 h 5"/>
                <a:gd name="T14" fmla="*/ 1659189597 w 40"/>
                <a:gd name="T15" fmla="*/ 2147483647 h 5"/>
                <a:gd name="T16" fmla="*/ 1935720816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1" name="Freeform 491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231994" y="2304397"/>
              <a:ext cx="13715" cy="58108"/>
            </a:xfrm>
            <a:custGeom>
              <a:avLst/>
              <a:gdLst>
                <a:gd name="T0" fmla="*/ 0 w 33"/>
                <a:gd name="T1" fmla="*/ 2147483647 h 31"/>
                <a:gd name="T2" fmla="*/ 1435718369 w 33"/>
                <a:gd name="T3" fmla="*/ 0 h 31"/>
                <a:gd name="T4" fmla="*/ 1435718369 w 33"/>
                <a:gd name="T5" fmla="*/ 2147483647 h 31"/>
                <a:gd name="T6" fmla="*/ 1579255337 w 33"/>
                <a:gd name="T7" fmla="*/ 2147483647 h 31"/>
                <a:gd name="T8" fmla="*/ 1794646818 w 33"/>
                <a:gd name="T9" fmla="*/ 2147483647 h 31"/>
                <a:gd name="T10" fmla="*/ 1938185448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2" name="Freeform 492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370676" y="2416025"/>
              <a:ext cx="16764" cy="55049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19021966 w 41"/>
                <a:gd name="T5" fmla="*/ 2147483647 h 43"/>
                <a:gd name="T6" fmla="*/ 1640549371 w 41"/>
                <a:gd name="T7" fmla="*/ 2147483647 h 43"/>
                <a:gd name="T8" fmla="*/ 1230453836 w 41"/>
                <a:gd name="T9" fmla="*/ 2147483647 h 43"/>
                <a:gd name="T10" fmla="*/ 888568130 w 41"/>
                <a:gd name="T11" fmla="*/ 2147483647 h 43"/>
                <a:gd name="T12" fmla="*/ 341718578 w 41"/>
                <a:gd name="T13" fmla="*/ 2147483647 h 43"/>
                <a:gd name="T14" fmla="*/ 0 w 41"/>
                <a:gd name="T15" fmla="*/ 2147483647 h 43"/>
                <a:gd name="T16" fmla="*/ 820358505 w 41"/>
                <a:gd name="T17" fmla="*/ 2147483647 h 43"/>
                <a:gd name="T18" fmla="*/ 1708926022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3" name="Freeform 493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422491" y="2304397"/>
              <a:ext cx="89915" cy="58108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823053928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1730133381 w 213"/>
                <a:gd name="T49" fmla="*/ 2147483647 h 62"/>
                <a:gd name="T50" fmla="*/ 902756050 w 213"/>
                <a:gd name="T51" fmla="*/ 2147483647 h 62"/>
                <a:gd name="T52" fmla="*/ 0 w 213"/>
                <a:gd name="T53" fmla="*/ 2147483647 h 62"/>
                <a:gd name="T54" fmla="*/ 451378025 w 213"/>
                <a:gd name="T55" fmla="*/ 2147483647 h 62"/>
                <a:gd name="T56" fmla="*/ 827377541 w 213"/>
                <a:gd name="T57" fmla="*/ 2147483647 h 62"/>
                <a:gd name="T58" fmla="*/ 1278755145 w 213"/>
                <a:gd name="T59" fmla="*/ 2147483647 h 62"/>
                <a:gd name="T60" fmla="*/ 1730133381 w 213"/>
                <a:gd name="T61" fmla="*/ 2147483647 h 62"/>
                <a:gd name="T62" fmla="*/ 2031111726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823053928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4" name="Freeform 494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480402" y="2328863"/>
              <a:ext cx="99059" cy="58108"/>
            </a:xfrm>
            <a:custGeom>
              <a:avLst/>
              <a:gdLst>
                <a:gd name="T0" fmla="*/ 2147483647 w 239"/>
                <a:gd name="T1" fmla="*/ 0 h 56"/>
                <a:gd name="T2" fmla="*/ 2136007428 w 239"/>
                <a:gd name="T3" fmla="*/ 2147483647 h 56"/>
                <a:gd name="T4" fmla="*/ 1637651674 w 239"/>
                <a:gd name="T5" fmla="*/ 2147483647 h 56"/>
                <a:gd name="T6" fmla="*/ 1352827694 w 239"/>
                <a:gd name="T7" fmla="*/ 2147483647 h 56"/>
                <a:gd name="T8" fmla="*/ 1068003714 w 239"/>
                <a:gd name="T9" fmla="*/ 2147483647 h 56"/>
                <a:gd name="T10" fmla="*/ 925591724 w 239"/>
                <a:gd name="T11" fmla="*/ 2147483647 h 56"/>
                <a:gd name="T12" fmla="*/ 712060157 w 239"/>
                <a:gd name="T13" fmla="*/ 2147483647 h 56"/>
                <a:gd name="T14" fmla="*/ 498356376 w 239"/>
                <a:gd name="T15" fmla="*/ 2147483647 h 56"/>
                <a:gd name="T16" fmla="*/ 0 w 239"/>
                <a:gd name="T17" fmla="*/ 2147483647 h 56"/>
                <a:gd name="T18" fmla="*/ 142412042 w 239"/>
                <a:gd name="T19" fmla="*/ 2147483647 h 56"/>
                <a:gd name="T20" fmla="*/ 355944283 w 239"/>
                <a:gd name="T21" fmla="*/ 2147483647 h 56"/>
                <a:gd name="T22" fmla="*/ 498356376 w 239"/>
                <a:gd name="T23" fmla="*/ 2147483647 h 56"/>
                <a:gd name="T24" fmla="*/ 712060157 w 239"/>
                <a:gd name="T25" fmla="*/ 2147483647 h 56"/>
                <a:gd name="T26" fmla="*/ 1210415704 w 239"/>
                <a:gd name="T27" fmla="*/ 2147483647 h 56"/>
                <a:gd name="T28" fmla="*/ 1708771873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1117617319 h 56"/>
                <a:gd name="T86" fmla="*/ 2147483647 w 239"/>
                <a:gd name="T87" fmla="*/ 0 h 56"/>
                <a:gd name="T88" fmla="*/ 2147483647 w 239"/>
                <a:gd name="T89" fmla="*/ 1117617319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1117617319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5" name="Freeform 495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593177" y="2342626"/>
              <a:ext cx="79247" cy="55049"/>
            </a:xfrm>
            <a:custGeom>
              <a:avLst/>
              <a:gdLst>
                <a:gd name="T0" fmla="*/ 1065507775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977301383 h 80"/>
                <a:gd name="T6" fmla="*/ 2147483647 w 187"/>
                <a:gd name="T7" fmla="*/ 195507618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31015549 w 187"/>
                <a:gd name="T51" fmla="*/ 2147483647 h 80"/>
                <a:gd name="T52" fmla="*/ 1674318627 w 187"/>
                <a:gd name="T53" fmla="*/ 2147483647 h 80"/>
                <a:gd name="T54" fmla="*/ 1369913625 w 187"/>
                <a:gd name="T55" fmla="*/ 2147483647 h 80"/>
                <a:gd name="T56" fmla="*/ 1065507775 w 187"/>
                <a:gd name="T57" fmla="*/ 2147483647 h 80"/>
                <a:gd name="T58" fmla="*/ 684956812 w 187"/>
                <a:gd name="T59" fmla="*/ 2147483647 h 80"/>
                <a:gd name="T60" fmla="*/ 456697557 w 187"/>
                <a:gd name="T61" fmla="*/ 2147483647 h 80"/>
                <a:gd name="T62" fmla="*/ 228258937 w 187"/>
                <a:gd name="T63" fmla="*/ 2147483647 h 80"/>
                <a:gd name="T64" fmla="*/ 152292396 w 187"/>
                <a:gd name="T65" fmla="*/ 2147483647 h 80"/>
                <a:gd name="T66" fmla="*/ 0 w 187"/>
                <a:gd name="T67" fmla="*/ 2147483647 h 80"/>
                <a:gd name="T68" fmla="*/ 152292396 w 187"/>
                <a:gd name="T69" fmla="*/ 2147483647 h 80"/>
                <a:gd name="T70" fmla="*/ 228258937 w 187"/>
                <a:gd name="T71" fmla="*/ 2147483647 h 80"/>
                <a:gd name="T72" fmla="*/ 380551280 w 187"/>
                <a:gd name="T73" fmla="*/ 2147483647 h 80"/>
                <a:gd name="T74" fmla="*/ 532664470 w 187"/>
                <a:gd name="T75" fmla="*/ 2147483647 h 80"/>
                <a:gd name="T76" fmla="*/ 989362027 w 187"/>
                <a:gd name="T77" fmla="*/ 2147483647 h 80"/>
                <a:gd name="T78" fmla="*/ 1065507775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6" name="Freeform 496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099138" y="2463428"/>
              <a:ext cx="76199" cy="56579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465549837 h 73"/>
                <a:gd name="T6" fmla="*/ 2147483647 w 183"/>
                <a:gd name="T7" fmla="*/ 1862200900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021423886 w 183"/>
                <a:gd name="T39" fmla="*/ 2147483647 h 73"/>
                <a:gd name="T40" fmla="*/ 1155050289 w 183"/>
                <a:gd name="T41" fmla="*/ 2147483647 h 73"/>
                <a:gd name="T42" fmla="*/ 505399692 w 183"/>
                <a:gd name="T43" fmla="*/ 2147483647 h 73"/>
                <a:gd name="T44" fmla="*/ 288849181 w 183"/>
                <a:gd name="T45" fmla="*/ 2147483647 h 73"/>
                <a:gd name="T46" fmla="*/ 144424590 w 183"/>
                <a:gd name="T47" fmla="*/ 2147483647 h 73"/>
                <a:gd name="T48" fmla="*/ 72125478 w 183"/>
                <a:gd name="T49" fmla="*/ 2147483647 h 73"/>
                <a:gd name="T50" fmla="*/ 0 w 183"/>
                <a:gd name="T51" fmla="*/ 2147483647 h 73"/>
                <a:gd name="T52" fmla="*/ 72125478 w 183"/>
                <a:gd name="T53" fmla="*/ 2147483647 h 73"/>
                <a:gd name="T54" fmla="*/ 216550459 w 183"/>
                <a:gd name="T55" fmla="*/ 2147483647 h 73"/>
                <a:gd name="T56" fmla="*/ 505399692 w 183"/>
                <a:gd name="T57" fmla="*/ 1862200900 h 73"/>
                <a:gd name="T58" fmla="*/ 938500298 w 183"/>
                <a:gd name="T59" fmla="*/ 1396650093 h 73"/>
                <a:gd name="T60" fmla="*/ 1371600280 w 183"/>
                <a:gd name="T61" fmla="*/ 465549837 h 73"/>
                <a:gd name="T62" fmla="*/ 2021423886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7" name="Freeform 497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163145" y="2480249"/>
              <a:ext cx="32004" cy="55049"/>
            </a:xfrm>
            <a:custGeom>
              <a:avLst/>
              <a:gdLst>
                <a:gd name="T0" fmla="*/ 0 w 79"/>
                <a:gd name="T1" fmla="*/ 2147483647 h 42"/>
                <a:gd name="T2" fmla="*/ 1529244921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1928049041 w 79"/>
                <a:gd name="T35" fmla="*/ 2147483647 h 42"/>
                <a:gd name="T36" fmla="*/ 1662179763 w 79"/>
                <a:gd name="T37" fmla="*/ 2147483647 h 42"/>
                <a:gd name="T38" fmla="*/ 1063808093 w 79"/>
                <a:gd name="T39" fmla="*/ 2147483647 h 42"/>
                <a:gd name="T40" fmla="*/ 731306714 w 79"/>
                <a:gd name="T41" fmla="*/ 2147483647 h 42"/>
                <a:gd name="T42" fmla="*/ 332501682 w 79"/>
                <a:gd name="T43" fmla="*/ 2147483647 h 42"/>
                <a:gd name="T44" fmla="*/ 132934893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8" name="Freeform 498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192101" y="2490953"/>
              <a:ext cx="50291" cy="56579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1851183172 w 113"/>
                <a:gd name="T25" fmla="*/ 2147483647 h 52"/>
                <a:gd name="T26" fmla="*/ 1146045685 w 113"/>
                <a:gd name="T27" fmla="*/ 2147483647 h 52"/>
                <a:gd name="T28" fmla="*/ 528853115 w 113"/>
                <a:gd name="T29" fmla="*/ 2147483647 h 52"/>
                <a:gd name="T30" fmla="*/ 352568854 w 113"/>
                <a:gd name="T31" fmla="*/ 2147483647 h 52"/>
                <a:gd name="T32" fmla="*/ 176284205 w 113"/>
                <a:gd name="T33" fmla="*/ 2147483647 h 52"/>
                <a:gd name="T34" fmla="*/ 88142325 w 113"/>
                <a:gd name="T35" fmla="*/ 2147483647 h 52"/>
                <a:gd name="T36" fmla="*/ 0 w 113"/>
                <a:gd name="T37" fmla="*/ 2147483647 h 52"/>
                <a:gd name="T38" fmla="*/ 88142325 w 113"/>
                <a:gd name="T39" fmla="*/ 2147483647 h 52"/>
                <a:gd name="T40" fmla="*/ 88142325 w 113"/>
                <a:gd name="T41" fmla="*/ 2147483647 h 52"/>
                <a:gd name="T42" fmla="*/ 264426557 w 113"/>
                <a:gd name="T43" fmla="*/ 2147483647 h 52"/>
                <a:gd name="T44" fmla="*/ 440710707 w 113"/>
                <a:gd name="T45" fmla="*/ 2147483647 h 52"/>
                <a:gd name="T46" fmla="*/ 616994967 w 113"/>
                <a:gd name="T47" fmla="*/ 2147483647 h 52"/>
                <a:gd name="T48" fmla="*/ 881619462 w 113"/>
                <a:gd name="T49" fmla="*/ 2147483647 h 52"/>
                <a:gd name="T50" fmla="*/ 1234188427 w 113"/>
                <a:gd name="T51" fmla="*/ 1288050479 h 52"/>
                <a:gd name="T52" fmla="*/ 1498614874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49" name="Freeform 499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972648" y="2464958"/>
              <a:ext cx="59435" cy="56578"/>
            </a:xfrm>
            <a:custGeom>
              <a:avLst/>
              <a:gdLst>
                <a:gd name="T0" fmla="*/ 0 w 139"/>
                <a:gd name="T1" fmla="*/ 2147483647 h 40"/>
                <a:gd name="T2" fmla="*/ 625472072 w 139"/>
                <a:gd name="T3" fmla="*/ 2147483647 h 40"/>
                <a:gd name="T4" fmla="*/ 1485336012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032555527 w 139"/>
                <a:gd name="T35" fmla="*/ 2147483647 h 40"/>
                <a:gd name="T36" fmla="*/ 1329013479 w 139"/>
                <a:gd name="T37" fmla="*/ 2147483647 h 40"/>
                <a:gd name="T38" fmla="*/ 859863940 w 139"/>
                <a:gd name="T39" fmla="*/ 2147483647 h 40"/>
                <a:gd name="T40" fmla="*/ 312644746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0" name="Freeform 500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260680" y="2408379"/>
              <a:ext cx="134110" cy="55049"/>
            </a:xfrm>
            <a:custGeom>
              <a:avLst/>
              <a:gdLst>
                <a:gd name="T0" fmla="*/ 702562206 w 325"/>
                <a:gd name="T1" fmla="*/ 2147483647 h 71"/>
                <a:gd name="T2" fmla="*/ 2147483647 w 325"/>
                <a:gd name="T3" fmla="*/ 465890535 h 71"/>
                <a:gd name="T4" fmla="*/ 2147483647 w 325"/>
                <a:gd name="T5" fmla="*/ 0 h 71"/>
                <a:gd name="T6" fmla="*/ 2147483647 w 325"/>
                <a:gd name="T7" fmla="*/ 1864162253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1756575421 w 325"/>
                <a:gd name="T57" fmla="*/ 2147483647 h 71"/>
                <a:gd name="T58" fmla="*/ 1124167781 w 325"/>
                <a:gd name="T59" fmla="*/ 2147483647 h 71"/>
                <a:gd name="T60" fmla="*/ 421605472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1" name="Freeform 501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414602" y="2416025"/>
              <a:ext cx="91439" cy="55049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1579623665 w 220"/>
                <a:gd name="T89" fmla="*/ 2147483647 h 72"/>
                <a:gd name="T90" fmla="*/ 1292341526 w 220"/>
                <a:gd name="T91" fmla="*/ 2147483647 h 72"/>
                <a:gd name="T92" fmla="*/ 933367074 w 220"/>
                <a:gd name="T93" fmla="*/ 2147483647 h 72"/>
                <a:gd name="T94" fmla="*/ 646257214 w 220"/>
                <a:gd name="T95" fmla="*/ 2147483647 h 72"/>
                <a:gd name="T96" fmla="*/ 502529278 w 220"/>
                <a:gd name="T97" fmla="*/ 2147483647 h 72"/>
                <a:gd name="T98" fmla="*/ 215419054 w 220"/>
                <a:gd name="T99" fmla="*/ 2147483647 h 72"/>
                <a:gd name="T100" fmla="*/ 143555086 w 220"/>
                <a:gd name="T101" fmla="*/ 2147483647 h 72"/>
                <a:gd name="T102" fmla="*/ 71863994 w 220"/>
                <a:gd name="T103" fmla="*/ 2147483647 h 72"/>
                <a:gd name="T104" fmla="*/ 0 w 220"/>
                <a:gd name="T105" fmla="*/ 2147483647 h 72"/>
                <a:gd name="T106" fmla="*/ 1651488049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2" name="Freeform 502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376502" y="2461899"/>
              <a:ext cx="60959" cy="56578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10776307 w 146"/>
                <a:gd name="T33" fmla="*/ 2147483647 h 30"/>
                <a:gd name="T34" fmla="*/ 1382952456 w 146"/>
                <a:gd name="T35" fmla="*/ 0 h 30"/>
                <a:gd name="T36" fmla="*/ 1018953893 w 146"/>
                <a:gd name="T37" fmla="*/ 2147483647 h 30"/>
                <a:gd name="T38" fmla="*/ 727824060 w 146"/>
                <a:gd name="T39" fmla="*/ 2147483647 h 30"/>
                <a:gd name="T40" fmla="*/ 291129728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3" name="Freeform 503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7356691" y="2458841"/>
              <a:ext cx="19811" cy="56578"/>
            </a:xfrm>
            <a:custGeom>
              <a:avLst/>
              <a:gdLst>
                <a:gd name="T0" fmla="*/ 0 w 53"/>
                <a:gd name="T1" fmla="*/ 2147483647 h 9"/>
                <a:gd name="T2" fmla="*/ 887785602 w 53"/>
                <a:gd name="T3" fmla="*/ 2147483647 h 9"/>
                <a:gd name="T4" fmla="*/ 1514573315 w 53"/>
                <a:gd name="T5" fmla="*/ 2147483647 h 9"/>
                <a:gd name="T6" fmla="*/ 2089105233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1984594388 w 53"/>
                <a:gd name="T13" fmla="*/ 2147483647 h 9"/>
                <a:gd name="T14" fmla="*/ 1619083786 w 53"/>
                <a:gd name="T15" fmla="*/ 2147483647 h 9"/>
                <a:gd name="T16" fmla="*/ 1305690677 w 53"/>
                <a:gd name="T17" fmla="*/ 0 h 9"/>
                <a:gd name="T18" fmla="*/ 992297194 w 53"/>
                <a:gd name="T19" fmla="*/ 0 h 9"/>
                <a:gd name="T20" fmla="*/ 731158947 w 53"/>
                <a:gd name="T21" fmla="*/ 0 h 9"/>
                <a:gd name="T22" fmla="*/ 470020886 w 53"/>
                <a:gd name="T23" fmla="*/ 2147483647 h 9"/>
                <a:gd name="T24" fmla="*/ 313393576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4" name="Line 504"/>
            <p:cNvSpPr>
              <a:spLocks noChangeShapeType="1"/>
            </p:cNvSpPr>
            <p:nvPr>
              <p:custDataLst>
                <p:tags r:id="rId340"/>
              </p:custDataLst>
            </p:nvPr>
          </p:nvSpPr>
          <p:spPr bwMode="auto">
            <a:xfrm flipV="1">
              <a:off x="7358214" y="2457311"/>
              <a:ext cx="0" cy="153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455" name="Freeform 505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61174" y="2388500"/>
              <a:ext cx="10667" cy="53520"/>
            </a:xfrm>
            <a:custGeom>
              <a:avLst/>
              <a:gdLst>
                <a:gd name="T0" fmla="*/ 0 w 26"/>
                <a:gd name="T1" fmla="*/ 2147483647 h 25"/>
                <a:gd name="T2" fmla="*/ 345225969 w 26"/>
                <a:gd name="T3" fmla="*/ 2147483647 h 25"/>
                <a:gd name="T4" fmla="*/ 897823485 w 26"/>
                <a:gd name="T5" fmla="*/ 2147483647 h 25"/>
                <a:gd name="T6" fmla="*/ 1104857586 w 26"/>
                <a:gd name="T7" fmla="*/ 2147483647 h 25"/>
                <a:gd name="T8" fmla="*/ 1381072085 w 26"/>
                <a:gd name="T9" fmla="*/ 2147483647 h 25"/>
                <a:gd name="T10" fmla="*/ 1588275217 w 26"/>
                <a:gd name="T11" fmla="*/ 2147483647 h 25"/>
                <a:gd name="T12" fmla="*/ 1795477939 w 26"/>
                <a:gd name="T13" fmla="*/ 0 h 25"/>
                <a:gd name="T14" fmla="*/ 1795477939 w 26"/>
                <a:gd name="T15" fmla="*/ 2147483647 h 25"/>
                <a:gd name="T16" fmla="*/ 1381072085 w 26"/>
                <a:gd name="T17" fmla="*/ 2147483647 h 25"/>
                <a:gd name="T18" fmla="*/ 897823485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6" name="Freeform 506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7280492" y="2457311"/>
              <a:ext cx="9144" cy="55049"/>
            </a:xfrm>
            <a:custGeom>
              <a:avLst/>
              <a:gdLst>
                <a:gd name="T0" fmla="*/ 702070176 w 33"/>
                <a:gd name="T1" fmla="*/ 2147483647 h 25"/>
                <a:gd name="T2" fmla="*/ 702070176 w 33"/>
                <a:gd name="T3" fmla="*/ 2147483647 h 25"/>
                <a:gd name="T4" fmla="*/ 702070176 w 33"/>
                <a:gd name="T5" fmla="*/ 0 h 25"/>
                <a:gd name="T6" fmla="*/ 0 w 33"/>
                <a:gd name="T7" fmla="*/ 0 h 25"/>
                <a:gd name="T8" fmla="*/ 191487810 w 33"/>
                <a:gd name="T9" fmla="*/ 2147483647 h 25"/>
                <a:gd name="T10" fmla="*/ 340362937 w 33"/>
                <a:gd name="T11" fmla="*/ 2147483647 h 25"/>
                <a:gd name="T12" fmla="*/ 425511271 w 33"/>
                <a:gd name="T13" fmla="*/ 2147483647 h 25"/>
                <a:gd name="T14" fmla="*/ 510582852 w 33"/>
                <a:gd name="T15" fmla="*/ 2147483647 h 25"/>
                <a:gd name="T16" fmla="*/ 595731047 w 33"/>
                <a:gd name="T17" fmla="*/ 2147483647 h 25"/>
                <a:gd name="T18" fmla="*/ 702070176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7" name="Freeform 507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236296" y="2422142"/>
              <a:ext cx="9144" cy="55049"/>
            </a:xfrm>
            <a:custGeom>
              <a:avLst/>
              <a:gdLst>
                <a:gd name="T0" fmla="*/ 0 w 20"/>
                <a:gd name="T1" fmla="*/ 0 h 18"/>
                <a:gd name="T2" fmla="*/ 1242484874 w 20"/>
                <a:gd name="T3" fmla="*/ 2147483647 h 18"/>
                <a:gd name="T4" fmla="*/ 1529067784 w 20"/>
                <a:gd name="T5" fmla="*/ 2147483647 h 18"/>
                <a:gd name="T6" fmla="*/ 191138650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8" name="Freeform 508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716350" y="2971105"/>
              <a:ext cx="12192" cy="56579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453851239 w 33"/>
                <a:gd name="T5" fmla="*/ 0 h 31"/>
                <a:gd name="T6" fmla="*/ 806831828 w 33"/>
                <a:gd name="T7" fmla="*/ 0 h 31"/>
                <a:gd name="T8" fmla="*/ 1210315167 w 33"/>
                <a:gd name="T9" fmla="*/ 0 h 31"/>
                <a:gd name="T10" fmla="*/ 1664166591 w 33"/>
                <a:gd name="T11" fmla="*/ 0 h 31"/>
                <a:gd name="T12" fmla="*/ 1512928595 w 33"/>
                <a:gd name="T13" fmla="*/ 2147483647 h 31"/>
                <a:gd name="T14" fmla="*/ 1462424921 w 33"/>
                <a:gd name="T15" fmla="*/ 2147483647 h 31"/>
                <a:gd name="T16" fmla="*/ 1412057206 w 33"/>
                <a:gd name="T17" fmla="*/ 2147483647 h 31"/>
                <a:gd name="T18" fmla="*/ 1412057206 w 33"/>
                <a:gd name="T19" fmla="*/ 2147483647 h 31"/>
                <a:gd name="T20" fmla="*/ 1412057206 w 33"/>
                <a:gd name="T21" fmla="*/ 2147483647 h 31"/>
                <a:gd name="T22" fmla="*/ 1462424921 w 33"/>
                <a:gd name="T23" fmla="*/ 2147483647 h 31"/>
                <a:gd name="T24" fmla="*/ 1512928595 w 33"/>
                <a:gd name="T25" fmla="*/ 2147483647 h 31"/>
                <a:gd name="T26" fmla="*/ 1664166591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59" name="Freeform 509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98285" y="2510832"/>
              <a:ext cx="53340" cy="56578"/>
            </a:xfrm>
            <a:custGeom>
              <a:avLst/>
              <a:gdLst>
                <a:gd name="T0" fmla="*/ 212006190 w 129"/>
                <a:gd name="T1" fmla="*/ 2147483647 h 56"/>
                <a:gd name="T2" fmla="*/ 70611815 w 129"/>
                <a:gd name="T3" fmla="*/ 2147483647 h 56"/>
                <a:gd name="T4" fmla="*/ 70611815 w 129"/>
                <a:gd name="T5" fmla="*/ 2147483647 h 56"/>
                <a:gd name="T6" fmla="*/ 0 w 129"/>
                <a:gd name="T7" fmla="*/ 2147483647 h 56"/>
                <a:gd name="T8" fmla="*/ 70611815 w 129"/>
                <a:gd name="T9" fmla="*/ 2147483647 h 56"/>
                <a:gd name="T10" fmla="*/ 141394401 w 129"/>
                <a:gd name="T11" fmla="*/ 2147483647 h 56"/>
                <a:gd name="T12" fmla="*/ 212006190 w 129"/>
                <a:gd name="T13" fmla="*/ 2147483647 h 56"/>
                <a:gd name="T14" fmla="*/ 636188980 w 129"/>
                <a:gd name="T15" fmla="*/ 2147483647 h 56"/>
                <a:gd name="T16" fmla="*/ 1131154382 w 129"/>
                <a:gd name="T17" fmla="*/ 2147483647 h 56"/>
                <a:gd name="T18" fmla="*/ 1484555283 w 129"/>
                <a:gd name="T19" fmla="*/ 2147483647 h 56"/>
                <a:gd name="T20" fmla="*/ 1908738331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1625949219 w 129"/>
                <a:gd name="T67" fmla="*/ 2147483647 h 56"/>
                <a:gd name="T68" fmla="*/ 1131154382 w 129"/>
                <a:gd name="T69" fmla="*/ 2147483647 h 56"/>
                <a:gd name="T70" fmla="*/ 424183152 w 129"/>
                <a:gd name="T71" fmla="*/ 2147483647 h 56"/>
                <a:gd name="T72" fmla="*/ 212006190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0" name="Freeform 510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129348" y="2850303"/>
              <a:ext cx="13716" cy="55049"/>
            </a:xfrm>
            <a:custGeom>
              <a:avLst/>
              <a:gdLst>
                <a:gd name="T0" fmla="*/ 786201162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62104383 w 41"/>
                <a:gd name="T7" fmla="*/ 2147483647 h 42"/>
                <a:gd name="T8" fmla="*/ 524208431 w 41"/>
                <a:gd name="T9" fmla="*/ 2147483647 h 42"/>
                <a:gd name="T10" fmla="*/ 898563261 w 41"/>
                <a:gd name="T11" fmla="*/ 2147483647 h 42"/>
                <a:gd name="T12" fmla="*/ 1272917590 w 41"/>
                <a:gd name="T13" fmla="*/ 0 h 42"/>
                <a:gd name="T14" fmla="*/ 1272917590 w 41"/>
                <a:gd name="T15" fmla="*/ 2147483647 h 42"/>
                <a:gd name="T16" fmla="*/ 1535022558 w 41"/>
                <a:gd name="T17" fmla="*/ 2147483647 h 42"/>
                <a:gd name="T18" fmla="*/ 786201162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1" name="Freeform 511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272602" y="2958872"/>
              <a:ext cx="41148" cy="58108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078811321 w 93"/>
                <a:gd name="T25" fmla="*/ 2147483647 h 39"/>
                <a:gd name="T26" fmla="*/ 1385808879 w 93"/>
                <a:gd name="T27" fmla="*/ 2147483647 h 39"/>
                <a:gd name="T28" fmla="*/ 779529800 w 93"/>
                <a:gd name="T29" fmla="*/ 2147483647 h 39"/>
                <a:gd name="T30" fmla="*/ 0 w 93"/>
                <a:gd name="T31" fmla="*/ 2147483647 h 39"/>
                <a:gd name="T32" fmla="*/ 952780742 w 93"/>
                <a:gd name="T33" fmla="*/ 2147483647 h 39"/>
                <a:gd name="T34" fmla="*/ 1732310321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2" name="Freeform 512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321369" y="2974163"/>
              <a:ext cx="18288" cy="56579"/>
            </a:xfrm>
            <a:custGeom>
              <a:avLst/>
              <a:gdLst>
                <a:gd name="T0" fmla="*/ 2147483647 w 39"/>
                <a:gd name="T1" fmla="*/ 2147483647 h 19"/>
                <a:gd name="T2" fmla="*/ 1340441882 w 39"/>
                <a:gd name="T3" fmla="*/ 2147483647 h 19"/>
                <a:gd name="T4" fmla="*/ 824802779 w 39"/>
                <a:gd name="T5" fmla="*/ 2147483647 h 19"/>
                <a:gd name="T6" fmla="*/ 515639571 w 39"/>
                <a:gd name="T7" fmla="*/ 2147483647 h 19"/>
                <a:gd name="T8" fmla="*/ 309383719 w 39"/>
                <a:gd name="T9" fmla="*/ 2147483647 h 19"/>
                <a:gd name="T10" fmla="*/ 206255793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1340441882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3" name="Freeform 513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191831" y="3096495"/>
              <a:ext cx="13715" cy="55049"/>
            </a:xfrm>
            <a:custGeom>
              <a:avLst/>
              <a:gdLst>
                <a:gd name="T0" fmla="*/ 0 w 26"/>
                <a:gd name="T1" fmla="*/ 2147483647 h 36"/>
                <a:gd name="T2" fmla="*/ 440479910 w 26"/>
                <a:gd name="T3" fmla="*/ 2147483647 h 36"/>
                <a:gd name="T4" fmla="*/ 1467801552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054922595 w 26"/>
                <a:gd name="T23" fmla="*/ 2147483647 h 36"/>
                <a:gd name="T24" fmla="*/ 1467801552 w 26"/>
                <a:gd name="T25" fmla="*/ 2147483647 h 36"/>
                <a:gd name="T26" fmla="*/ 587120779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4" name="Freeform 514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8202499" y="3124020"/>
              <a:ext cx="3048" cy="58108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786579076 w 6"/>
                <a:gd name="T5" fmla="*/ 0 h 37"/>
                <a:gd name="T6" fmla="*/ 786579076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5" name="Freeform 515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190307" y="3203536"/>
              <a:ext cx="9144" cy="53521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191055177 w 20"/>
                <a:gd name="T7" fmla="*/ 2147483647 h 43"/>
                <a:gd name="T8" fmla="*/ 668901861 w 20"/>
                <a:gd name="T9" fmla="*/ 0 h 43"/>
                <a:gd name="T10" fmla="*/ 1051220814 w 20"/>
                <a:gd name="T11" fmla="*/ 2147483647 h 43"/>
                <a:gd name="T12" fmla="*/ 1529067784 w 20"/>
                <a:gd name="T13" fmla="*/ 2147483647 h 43"/>
                <a:gd name="T14" fmla="*/ 1624595115 w 20"/>
                <a:gd name="T15" fmla="*/ 2147483647 h 43"/>
                <a:gd name="T16" fmla="*/ 1815859176 w 20"/>
                <a:gd name="T17" fmla="*/ 2147483647 h 43"/>
                <a:gd name="T18" fmla="*/ 1815859176 w 20"/>
                <a:gd name="T19" fmla="*/ 2147483647 h 43"/>
                <a:gd name="T20" fmla="*/ 1911386507 w 20"/>
                <a:gd name="T21" fmla="*/ 2147483647 h 43"/>
                <a:gd name="T22" fmla="*/ 1815859176 w 20"/>
                <a:gd name="T23" fmla="*/ 2147483647 h 43"/>
                <a:gd name="T24" fmla="*/ 1720331844 w 20"/>
                <a:gd name="T25" fmla="*/ 2147483647 h 43"/>
                <a:gd name="T26" fmla="*/ 1529067784 w 20"/>
                <a:gd name="T27" fmla="*/ 2147483647 h 43"/>
                <a:gd name="T28" fmla="*/ 1146748145 w 20"/>
                <a:gd name="T29" fmla="*/ 2147483647 h 43"/>
                <a:gd name="T30" fmla="*/ 860165922 w 20"/>
                <a:gd name="T31" fmla="*/ 2147483647 h 43"/>
                <a:gd name="T32" fmla="*/ 573374530 w 20"/>
                <a:gd name="T33" fmla="*/ 2147483647 h 43"/>
                <a:gd name="T34" fmla="*/ 19105517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6" name="Freeform 516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168971" y="3237177"/>
              <a:ext cx="0" cy="56579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7" name="Freeform 517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168971" y="3237177"/>
              <a:ext cx="7620" cy="56579"/>
            </a:xfrm>
            <a:custGeom>
              <a:avLst/>
              <a:gdLst>
                <a:gd name="T0" fmla="*/ 0 w 20"/>
                <a:gd name="T1" fmla="*/ 0 h 24"/>
                <a:gd name="T2" fmla="*/ 1106126779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8" name="Freeform 518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932755" y="2839598"/>
              <a:ext cx="16763" cy="58108"/>
            </a:xfrm>
            <a:custGeom>
              <a:avLst/>
              <a:gdLst>
                <a:gd name="T0" fmla="*/ 0 w 46"/>
                <a:gd name="T1" fmla="*/ 0 h 19"/>
                <a:gd name="T2" fmla="*/ 435573838 w 46"/>
                <a:gd name="T3" fmla="*/ 2147483647 h 19"/>
                <a:gd name="T4" fmla="*/ 677529442 w 46"/>
                <a:gd name="T5" fmla="*/ 2147483647 h 19"/>
                <a:gd name="T6" fmla="*/ 919485593 w 46"/>
                <a:gd name="T7" fmla="*/ 2147483647 h 19"/>
                <a:gd name="T8" fmla="*/ 1113103281 w 46"/>
                <a:gd name="T9" fmla="*/ 2147483647 h 19"/>
                <a:gd name="T10" fmla="*/ 1258250405 w 46"/>
                <a:gd name="T11" fmla="*/ 2147483647 h 19"/>
                <a:gd name="T12" fmla="*/ 1548544290 w 46"/>
                <a:gd name="T13" fmla="*/ 2147483647 h 19"/>
                <a:gd name="T14" fmla="*/ 1790499894 w 46"/>
                <a:gd name="T15" fmla="*/ 2147483647 h 19"/>
                <a:gd name="T16" fmla="*/ 2147483647 w 46"/>
                <a:gd name="T17" fmla="*/ 2147483647 h 19"/>
                <a:gd name="T18" fmla="*/ 1597014124 w 46"/>
                <a:gd name="T19" fmla="*/ 2147483647 h 19"/>
                <a:gd name="T20" fmla="*/ 1161441197 w 46"/>
                <a:gd name="T21" fmla="*/ 2147483647 h 19"/>
                <a:gd name="T22" fmla="*/ 871014301 w 46"/>
                <a:gd name="T23" fmla="*/ 2147483647 h 19"/>
                <a:gd name="T24" fmla="*/ 629058880 w 46"/>
                <a:gd name="T25" fmla="*/ 2147483647 h 19"/>
                <a:gd name="T26" fmla="*/ 483911755 w 46"/>
                <a:gd name="T27" fmla="*/ 2147483647 h 19"/>
                <a:gd name="T28" fmla="*/ 338764903 w 46"/>
                <a:gd name="T29" fmla="*/ 2147483647 h 19"/>
                <a:gd name="T30" fmla="*/ 193617779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69" name="Freeform 519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5355706" y="2974163"/>
              <a:ext cx="45719" cy="56579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1242221883 w 100"/>
                <a:gd name="T7" fmla="*/ 2147483647 h 55"/>
                <a:gd name="T8" fmla="*/ 0 w 100"/>
                <a:gd name="T9" fmla="*/ 2147483647 h 55"/>
                <a:gd name="T10" fmla="*/ 95523449 w 100"/>
                <a:gd name="T11" fmla="*/ 2147483647 h 55"/>
                <a:gd name="T12" fmla="*/ 382302733 w 100"/>
                <a:gd name="T13" fmla="*/ 2147483647 h 55"/>
                <a:gd name="T14" fmla="*/ 955651850 w 100"/>
                <a:gd name="T15" fmla="*/ 2147483647 h 55"/>
                <a:gd name="T16" fmla="*/ 1529000624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0" name="Freeform 520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5786992" y="2581173"/>
              <a:ext cx="41147" cy="56578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136485453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136485453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1938545960 w 99"/>
                <a:gd name="T47" fmla="*/ 2147483647 h 51"/>
                <a:gd name="T48" fmla="*/ 1292306756 w 99"/>
                <a:gd name="T49" fmla="*/ 2147483647 h 51"/>
                <a:gd name="T50" fmla="*/ 646239828 w 99"/>
                <a:gd name="T51" fmla="*/ 2147483647 h 51"/>
                <a:gd name="T52" fmla="*/ 71862200 w 99"/>
                <a:gd name="T53" fmla="*/ 2147483647 h 51"/>
                <a:gd name="T54" fmla="*/ 0 w 99"/>
                <a:gd name="T55" fmla="*/ 2147483647 h 51"/>
                <a:gd name="T56" fmla="*/ 71862200 w 99"/>
                <a:gd name="T57" fmla="*/ 2147483647 h 51"/>
                <a:gd name="T58" fmla="*/ 215413259 w 99"/>
                <a:gd name="T59" fmla="*/ 2147483647 h 51"/>
                <a:gd name="T60" fmla="*/ 430826517 w 99"/>
                <a:gd name="T61" fmla="*/ 2147483647 h 51"/>
                <a:gd name="T62" fmla="*/ 1005203859 w 99"/>
                <a:gd name="T63" fmla="*/ 2147483647 h 51"/>
                <a:gd name="T64" fmla="*/ 1794995343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1" name="Freeform 521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820520" y="2400733"/>
              <a:ext cx="219453" cy="15750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909216908 h 311"/>
                <a:gd name="T10" fmla="*/ 2147483647 w 525"/>
                <a:gd name="T11" fmla="*/ 779438856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1314658711 w 525"/>
                <a:gd name="T79" fmla="*/ 2147483647 h 311"/>
                <a:gd name="T80" fmla="*/ 2147483647 w 525"/>
                <a:gd name="T81" fmla="*/ 2147483647 h 311"/>
                <a:gd name="T82" fmla="*/ 2045024289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2" name="Freeform 522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5620878" y="2700446"/>
              <a:ext cx="30480" cy="53520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1723044537 w 79"/>
                <a:gd name="T33" fmla="*/ 2147483647 h 38"/>
                <a:gd name="T34" fmla="*/ 1206057253 w 79"/>
                <a:gd name="T35" fmla="*/ 2147483647 h 38"/>
                <a:gd name="T36" fmla="*/ 861448191 w 79"/>
                <a:gd name="T37" fmla="*/ 2147483647 h 38"/>
                <a:gd name="T38" fmla="*/ 459528456 w 79"/>
                <a:gd name="T39" fmla="*/ 2147483647 h 38"/>
                <a:gd name="T40" fmla="*/ 229689957 w 79"/>
                <a:gd name="T41" fmla="*/ 2147483647 h 38"/>
                <a:gd name="T42" fmla="*/ 114919249 w 79"/>
                <a:gd name="T43" fmla="*/ 2147483647 h 38"/>
                <a:gd name="T44" fmla="*/ 57459818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57459818 w 79"/>
                <a:gd name="T51" fmla="*/ 2147483647 h 38"/>
                <a:gd name="T52" fmla="*/ 229689957 w 79"/>
                <a:gd name="T53" fmla="*/ 2147483647 h 38"/>
                <a:gd name="T54" fmla="*/ 574298730 w 79"/>
                <a:gd name="T55" fmla="*/ 2147483647 h 38"/>
                <a:gd name="T56" fmla="*/ 976367778 w 79"/>
                <a:gd name="T57" fmla="*/ 2147483647 h 38"/>
                <a:gd name="T58" fmla="*/ 1837815969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3" name="Freeform 523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7833696" y="2986397"/>
              <a:ext cx="188973" cy="258426"/>
            </a:xfrm>
            <a:custGeom>
              <a:avLst/>
              <a:gdLst>
                <a:gd name="T0" fmla="*/ 1814346994 w 459"/>
                <a:gd name="T1" fmla="*/ 2147483647 h 511"/>
                <a:gd name="T2" fmla="*/ 837338523 w 459"/>
                <a:gd name="T3" fmla="*/ 2147483647 h 511"/>
                <a:gd name="T4" fmla="*/ 0 w 459"/>
                <a:gd name="T5" fmla="*/ 0 h 511"/>
                <a:gd name="T6" fmla="*/ 1535346754 w 459"/>
                <a:gd name="T7" fmla="*/ 905386172 h 511"/>
                <a:gd name="T8" fmla="*/ 2147483647 w 459"/>
                <a:gd name="T9" fmla="*/ 775972429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4474" name="Group 524"/>
            <p:cNvGrpSpPr>
              <a:grpSpLocks/>
            </p:cNvGrpSpPr>
            <p:nvPr>
              <p:custDataLst>
                <p:tags r:id="rId360"/>
              </p:custDataLst>
            </p:nvPr>
          </p:nvGrpSpPr>
          <p:grpSpPr bwMode="auto">
            <a:xfrm>
              <a:off x="6672407" y="2943580"/>
              <a:ext cx="644642" cy="370054"/>
              <a:chOff x="4115" y="1551"/>
              <a:chExt cx="504" cy="244"/>
            </a:xfrm>
          </p:grpSpPr>
          <p:sp>
            <p:nvSpPr>
              <p:cNvPr id="4495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9 h 259"/>
                  <a:gd name="T2" fmla="*/ 3 w 240"/>
                  <a:gd name="T3" fmla="*/ 10 h 259"/>
                  <a:gd name="T4" fmla="*/ 4 w 240"/>
                  <a:gd name="T5" fmla="*/ 9 h 259"/>
                  <a:gd name="T6" fmla="*/ 5 w 240"/>
                  <a:gd name="T7" fmla="*/ 8 h 259"/>
                  <a:gd name="T8" fmla="*/ 7 w 240"/>
                  <a:gd name="T9" fmla="*/ 6 h 259"/>
                  <a:gd name="T10" fmla="*/ 8 w 240"/>
                  <a:gd name="T11" fmla="*/ 4 h 259"/>
                  <a:gd name="T12" fmla="*/ 9 w 240"/>
                  <a:gd name="T13" fmla="*/ 1 h 259"/>
                  <a:gd name="T14" fmla="*/ 8 w 240"/>
                  <a:gd name="T15" fmla="*/ 0 h 259"/>
                  <a:gd name="T16" fmla="*/ 7 w 240"/>
                  <a:gd name="T17" fmla="*/ 1 h 259"/>
                  <a:gd name="T18" fmla="*/ 7 w 240"/>
                  <a:gd name="T19" fmla="*/ 3 h 259"/>
                  <a:gd name="T20" fmla="*/ 6 w 240"/>
                  <a:gd name="T21" fmla="*/ 4 h 259"/>
                  <a:gd name="T22" fmla="*/ 5 w 240"/>
                  <a:gd name="T23" fmla="*/ 5 h 259"/>
                  <a:gd name="T24" fmla="*/ 4 w 240"/>
                  <a:gd name="T25" fmla="*/ 7 h 259"/>
                  <a:gd name="T26" fmla="*/ 3 w 240"/>
                  <a:gd name="T27" fmla="*/ 8 h 259"/>
                  <a:gd name="T28" fmla="*/ 1 w 240"/>
                  <a:gd name="T29" fmla="*/ 8 h 259"/>
                  <a:gd name="T30" fmla="*/ 0 w 240"/>
                  <a:gd name="T31" fmla="*/ 8 h 259"/>
                  <a:gd name="T32" fmla="*/ 0 w 240"/>
                  <a:gd name="T33" fmla="*/ 9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0"/>
                  <a:gd name="T52" fmla="*/ 0 h 259"/>
                  <a:gd name="T53" fmla="*/ 240 w 240"/>
                  <a:gd name="T54" fmla="*/ 259 h 2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96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 w 259"/>
                  <a:gd name="T1" fmla="*/ 4 h 104"/>
                  <a:gd name="T2" fmla="*/ 1 w 259"/>
                  <a:gd name="T3" fmla="*/ 3 h 104"/>
                  <a:gd name="T4" fmla="*/ 2 w 259"/>
                  <a:gd name="T5" fmla="*/ 2 h 104"/>
                  <a:gd name="T6" fmla="*/ 2 w 259"/>
                  <a:gd name="T7" fmla="*/ 2 h 104"/>
                  <a:gd name="T8" fmla="*/ 4 w 259"/>
                  <a:gd name="T9" fmla="*/ 2 h 104"/>
                  <a:gd name="T10" fmla="*/ 6 w 259"/>
                  <a:gd name="T11" fmla="*/ 2 h 104"/>
                  <a:gd name="T12" fmla="*/ 8 w 259"/>
                  <a:gd name="T13" fmla="*/ 1 h 104"/>
                  <a:gd name="T14" fmla="*/ 9 w 259"/>
                  <a:gd name="T15" fmla="*/ 0 h 104"/>
                  <a:gd name="T16" fmla="*/ 8 w 259"/>
                  <a:gd name="T17" fmla="*/ 0 h 104"/>
                  <a:gd name="T18" fmla="*/ 7 w 259"/>
                  <a:gd name="T19" fmla="*/ 0 h 104"/>
                  <a:gd name="T20" fmla="*/ 5 w 259"/>
                  <a:gd name="T21" fmla="*/ 0 h 104"/>
                  <a:gd name="T22" fmla="*/ 4 w 259"/>
                  <a:gd name="T23" fmla="*/ 0 h 104"/>
                  <a:gd name="T24" fmla="*/ 2 w 259"/>
                  <a:gd name="T25" fmla="*/ 1 h 104"/>
                  <a:gd name="T26" fmla="*/ 1 w 259"/>
                  <a:gd name="T27" fmla="*/ 2 h 104"/>
                  <a:gd name="T28" fmla="*/ 0 w 259"/>
                  <a:gd name="T29" fmla="*/ 2 h 104"/>
                  <a:gd name="T30" fmla="*/ 0 w 259"/>
                  <a:gd name="T31" fmla="*/ 4 h 104"/>
                  <a:gd name="T32" fmla="*/ 1 w 259"/>
                  <a:gd name="T33" fmla="*/ 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9"/>
                  <a:gd name="T52" fmla="*/ 0 h 104"/>
                  <a:gd name="T53" fmla="*/ 259 w 259"/>
                  <a:gd name="T54" fmla="*/ 104 h 10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4475" name="Freeform 527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5767180" y="3665338"/>
              <a:ext cx="509009" cy="492386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1272118395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642593323 w 1227"/>
                <a:gd name="T57" fmla="*/ 2147483647 h 979"/>
                <a:gd name="T58" fmla="*/ 0 w 1227"/>
                <a:gd name="T59" fmla="*/ 2147483647 h 979"/>
                <a:gd name="T60" fmla="*/ 642593323 w 1227"/>
                <a:gd name="T61" fmla="*/ 2147483647 h 979"/>
                <a:gd name="T62" fmla="*/ 1784770692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6" name="Freeform 528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5262744" y="3226473"/>
              <a:ext cx="54863" cy="55049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069375129 w 146"/>
                <a:gd name="T25" fmla="*/ 2147483647 h 81"/>
                <a:gd name="T26" fmla="*/ 1114256918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742885105 w 146"/>
                <a:gd name="T39" fmla="*/ 2147483647 h 81"/>
                <a:gd name="T40" fmla="*/ 1167350001 w 146"/>
                <a:gd name="T41" fmla="*/ 2147483647 h 81"/>
                <a:gd name="T42" fmla="*/ 1644908542 w 146"/>
                <a:gd name="T43" fmla="*/ 2147483647 h 81"/>
                <a:gd name="T44" fmla="*/ 2122467460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1569467467 h 81"/>
                <a:gd name="T56" fmla="*/ 2147483647 w 146"/>
                <a:gd name="T57" fmla="*/ 0 h 81"/>
                <a:gd name="T58" fmla="*/ 2147483647 w 146"/>
                <a:gd name="T59" fmla="*/ 1255388914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7" name="Freeform 529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012811" y="3431379"/>
              <a:ext cx="15240" cy="55049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1891210537 w 34"/>
                <a:gd name="T17" fmla="*/ 0 h 49"/>
                <a:gd name="T18" fmla="*/ 720480762 w 34"/>
                <a:gd name="T19" fmla="*/ 0 h 49"/>
                <a:gd name="T20" fmla="*/ 0 w 34"/>
                <a:gd name="T21" fmla="*/ 0 h 49"/>
                <a:gd name="T22" fmla="*/ 270230292 w 34"/>
                <a:gd name="T23" fmla="*/ 2147483647 h 49"/>
                <a:gd name="T24" fmla="*/ 630470673 w 34"/>
                <a:gd name="T25" fmla="*/ 2147483647 h 49"/>
                <a:gd name="T26" fmla="*/ 900500492 w 34"/>
                <a:gd name="T27" fmla="*/ 2147483647 h 49"/>
                <a:gd name="T28" fmla="*/ 1260740537 w 34"/>
                <a:gd name="T29" fmla="*/ 2147483647 h 49"/>
                <a:gd name="T30" fmla="*/ 1710990894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8" name="Freeform 530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621148" y="3764733"/>
              <a:ext cx="27432" cy="55049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1646903973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1911386750 w 60"/>
                <a:gd name="T23" fmla="*/ 2147483647 h 74"/>
                <a:gd name="T24" fmla="*/ 1433540634 w 60"/>
                <a:gd name="T25" fmla="*/ 2147483647 h 74"/>
                <a:gd name="T26" fmla="*/ 764638688 w 60"/>
                <a:gd name="T27" fmla="*/ 2147483647 h 74"/>
                <a:gd name="T28" fmla="*/ 0 w 60"/>
                <a:gd name="T29" fmla="*/ 2147483647 h 74"/>
                <a:gd name="T30" fmla="*/ 477846688 w 60"/>
                <a:gd name="T31" fmla="*/ 2147483647 h 74"/>
                <a:gd name="T32" fmla="*/ 1146748291 w 60"/>
                <a:gd name="T33" fmla="*/ 2147483647 h 74"/>
                <a:gd name="T34" fmla="*/ 181585940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1235178166 h 74"/>
                <a:gd name="T44" fmla="*/ 2147483647 w 60"/>
                <a:gd name="T45" fmla="*/ 411726365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79" name="Freeform 531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564761" y="3780025"/>
              <a:ext cx="22859" cy="58108"/>
            </a:xfrm>
            <a:custGeom>
              <a:avLst/>
              <a:gdLst>
                <a:gd name="T0" fmla="*/ 1495690634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1840813759 w 47"/>
                <a:gd name="T33" fmla="*/ 2147483647 h 45"/>
                <a:gd name="T34" fmla="*/ 805445115 w 47"/>
                <a:gd name="T35" fmla="*/ 2147483647 h 45"/>
                <a:gd name="T36" fmla="*/ 0 w 47"/>
                <a:gd name="T37" fmla="*/ 2147483647 h 45"/>
                <a:gd name="T38" fmla="*/ 230160934 w 47"/>
                <a:gd name="T39" fmla="*/ 2147483647 h 45"/>
                <a:gd name="T40" fmla="*/ 690246006 w 47"/>
                <a:gd name="T41" fmla="*/ 2147483647 h 45"/>
                <a:gd name="T42" fmla="*/ 1265529761 w 47"/>
                <a:gd name="T43" fmla="*/ 2147483647 h 45"/>
                <a:gd name="T44" fmla="*/ 1495690634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0" name="Freeform 532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540378" y="3773908"/>
              <a:ext cx="6096" cy="55049"/>
            </a:xfrm>
            <a:custGeom>
              <a:avLst/>
              <a:gdLst>
                <a:gd name="T0" fmla="*/ 77345820 w 26"/>
                <a:gd name="T1" fmla="*/ 2147483647 h 36"/>
                <a:gd name="T2" fmla="*/ 64427462 w 26"/>
                <a:gd name="T3" fmla="*/ 2147483647 h 36"/>
                <a:gd name="T4" fmla="*/ 38645361 w 26"/>
                <a:gd name="T5" fmla="*/ 2147483647 h 36"/>
                <a:gd name="T6" fmla="*/ 12863498 w 26"/>
                <a:gd name="T7" fmla="*/ 2147483647 h 36"/>
                <a:gd name="T8" fmla="*/ 0 w 26"/>
                <a:gd name="T9" fmla="*/ 0 h 36"/>
                <a:gd name="T10" fmla="*/ 335110738 w 26"/>
                <a:gd name="T11" fmla="*/ 0 h 36"/>
                <a:gd name="T12" fmla="*/ 322247244 w 26"/>
                <a:gd name="T13" fmla="*/ 2147483647 h 36"/>
                <a:gd name="T14" fmla="*/ 309328651 w 26"/>
                <a:gd name="T15" fmla="*/ 2147483647 h 36"/>
                <a:gd name="T16" fmla="*/ 296465157 w 26"/>
                <a:gd name="T17" fmla="*/ 2147483647 h 36"/>
                <a:gd name="T18" fmla="*/ 296465157 w 26"/>
                <a:gd name="T19" fmla="*/ 2147483647 h 36"/>
                <a:gd name="T20" fmla="*/ 309328651 w 26"/>
                <a:gd name="T21" fmla="*/ 2147483647 h 36"/>
                <a:gd name="T22" fmla="*/ 335110738 w 26"/>
                <a:gd name="T23" fmla="*/ 2147483647 h 36"/>
                <a:gd name="T24" fmla="*/ 77345820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1" name="Freeform 533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761084" y="3512424"/>
              <a:ext cx="167638" cy="152915"/>
            </a:xfrm>
            <a:custGeom>
              <a:avLst/>
              <a:gdLst>
                <a:gd name="T0" fmla="*/ 1843859326 w 405"/>
                <a:gd name="T1" fmla="*/ 2147483647 h 302"/>
                <a:gd name="T2" fmla="*/ 1985721596 w 405"/>
                <a:gd name="T3" fmla="*/ 2147483647 h 302"/>
                <a:gd name="T4" fmla="*/ 2127582210 w 405"/>
                <a:gd name="T5" fmla="*/ 2147483647 h 302"/>
                <a:gd name="T6" fmla="*/ 1985721596 w 405"/>
                <a:gd name="T7" fmla="*/ 2147483647 h 302"/>
                <a:gd name="T8" fmla="*/ 1276583681 w 405"/>
                <a:gd name="T9" fmla="*/ 2147483647 h 302"/>
                <a:gd name="T10" fmla="*/ 425585256 w 405"/>
                <a:gd name="T11" fmla="*/ 2147483647 h 302"/>
                <a:gd name="T12" fmla="*/ 141861907 w 405"/>
                <a:gd name="T13" fmla="*/ 2147483647 h 302"/>
                <a:gd name="T14" fmla="*/ 354654122 w 405"/>
                <a:gd name="T15" fmla="*/ 2147483647 h 302"/>
                <a:gd name="T16" fmla="*/ 425585256 w 405"/>
                <a:gd name="T17" fmla="*/ 2147483647 h 302"/>
                <a:gd name="T18" fmla="*/ 1205653374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519172165 h 302"/>
                <a:gd name="T48" fmla="*/ 2147483647 w 405"/>
                <a:gd name="T49" fmla="*/ 389443081 h 302"/>
                <a:gd name="T50" fmla="*/ 2147483647 w 405"/>
                <a:gd name="T51" fmla="*/ 389443081 h 302"/>
                <a:gd name="T52" fmla="*/ 2147483647 w 405"/>
                <a:gd name="T53" fmla="*/ 129729116 h 302"/>
                <a:gd name="T54" fmla="*/ 2147483647 w 405"/>
                <a:gd name="T55" fmla="*/ 1038600539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1843859326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2" name="Freeform 534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7771213" y="3879419"/>
              <a:ext cx="41147" cy="76457"/>
            </a:xfrm>
            <a:custGeom>
              <a:avLst/>
              <a:gdLst>
                <a:gd name="T0" fmla="*/ 2147483647 w 100"/>
                <a:gd name="T1" fmla="*/ 11995509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089932026 w 100"/>
                <a:gd name="T33" fmla="*/ 2147483647 h 155"/>
                <a:gd name="T34" fmla="*/ 1811251709 w 100"/>
                <a:gd name="T35" fmla="*/ 2147483647 h 155"/>
                <a:gd name="T36" fmla="*/ 1532571804 w 100"/>
                <a:gd name="T37" fmla="*/ 2147483647 h 155"/>
                <a:gd name="T38" fmla="*/ 1044966013 w 100"/>
                <a:gd name="T39" fmla="*/ 2147483647 h 155"/>
                <a:gd name="T40" fmla="*/ 626945744 w 100"/>
                <a:gd name="T41" fmla="*/ 2147483647 h 155"/>
                <a:gd name="T42" fmla="*/ 348265736 w 100"/>
                <a:gd name="T43" fmla="*/ 2147483647 h 155"/>
                <a:gd name="T44" fmla="*/ 139340210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1044966013 w 100"/>
                <a:gd name="T59" fmla="*/ 2147483647 h 155"/>
                <a:gd name="T60" fmla="*/ 1811251709 w 100"/>
                <a:gd name="T61" fmla="*/ 2147483647 h 155"/>
                <a:gd name="T62" fmla="*/ 1811251709 w 100"/>
                <a:gd name="T63" fmla="*/ 2147483647 h 155"/>
                <a:gd name="T64" fmla="*/ 1881007374 w 100"/>
                <a:gd name="T65" fmla="*/ 2147483647 h 155"/>
                <a:gd name="T66" fmla="*/ 2020347532 w 100"/>
                <a:gd name="T67" fmla="*/ 2147483647 h 155"/>
                <a:gd name="T68" fmla="*/ 2147483647 w 100"/>
                <a:gd name="T69" fmla="*/ 2040449577 h 155"/>
                <a:gd name="T70" fmla="*/ 2147483647 w 100"/>
                <a:gd name="T71" fmla="*/ 1440188373 h 155"/>
                <a:gd name="T72" fmla="*/ 2147483647 w 100"/>
                <a:gd name="T73" fmla="*/ 840171091 h 155"/>
                <a:gd name="T74" fmla="*/ 2147483647 w 100"/>
                <a:gd name="T75" fmla="*/ 480063079 h 155"/>
                <a:gd name="T76" fmla="*/ 2147483647 w 100"/>
                <a:gd name="T77" fmla="*/ 240152884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11995509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17" name="Group 535"/>
            <p:cNvGrpSpPr>
              <a:grpSpLocks/>
            </p:cNvGrpSpPr>
            <p:nvPr>
              <p:custDataLst>
                <p:tags r:id="rId369"/>
              </p:custDataLst>
            </p:nvPr>
          </p:nvGrpSpPr>
          <p:grpSpPr bwMode="auto">
            <a:xfrm>
              <a:off x="5512553" y="3366789"/>
              <a:ext cx="463276" cy="194176"/>
              <a:chOff x="3289" y="1830"/>
              <a:chExt cx="363" cy="128"/>
            </a:xfrm>
            <a:solidFill>
              <a:srgbClr val="FFC000"/>
            </a:solidFill>
          </p:grpSpPr>
          <p:sp>
            <p:nvSpPr>
              <p:cNvPr id="427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12" y="1"/>
                  </a:cxn>
                  <a:cxn ang="0">
                    <a:pos x="9" y="3"/>
                  </a:cxn>
                  <a:cxn ang="0">
                    <a:pos x="4" y="5"/>
                  </a:cxn>
                  <a:cxn ang="0">
                    <a:pos x="0" y="7"/>
                  </a:cxn>
                  <a:cxn ang="0">
                    <a:pos x="7" y="3"/>
                  </a:cxn>
                  <a:cxn ang="0">
                    <a:pos x="13" y="0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8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5"/>
                  </a:cxn>
                  <a:cxn ang="0">
                    <a:pos x="15" y="3"/>
                  </a:cxn>
                  <a:cxn ang="0">
                    <a:pos x="25" y="1"/>
                  </a:cxn>
                  <a:cxn ang="0">
                    <a:pos x="34" y="0"/>
                  </a:cxn>
                  <a:cxn ang="0">
                    <a:pos x="31" y="2"/>
                  </a:cxn>
                  <a:cxn ang="0">
                    <a:pos x="27" y="4"/>
                  </a:cxn>
                  <a:cxn ang="0">
                    <a:pos x="22" y="6"/>
                  </a:cxn>
                  <a:cxn ang="0">
                    <a:pos x="18" y="7"/>
                  </a:cxn>
                  <a:cxn ang="0">
                    <a:pos x="12" y="8"/>
                  </a:cxn>
                  <a:cxn ang="0">
                    <a:pos x="8" y="8"/>
                  </a:cxn>
                  <a:cxn ang="0">
                    <a:pos x="4" y="8"/>
                  </a:cxn>
                  <a:cxn ang="0">
                    <a:pos x="0" y="6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9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0"/>
                  </a:cxn>
                  <a:cxn ang="0">
                    <a:pos x="13" y="12"/>
                  </a:cxn>
                  <a:cxn ang="0">
                    <a:pos x="0" y="24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30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27"/>
                  </a:cxn>
                  <a:cxn ang="0">
                    <a:pos x="0" y="45"/>
                  </a:cxn>
                  <a:cxn ang="0">
                    <a:pos x="0" y="62"/>
                  </a:cxn>
                  <a:cxn ang="0">
                    <a:pos x="0" y="69"/>
                  </a:cxn>
                  <a:cxn ang="0">
                    <a:pos x="16" y="66"/>
                  </a:cxn>
                  <a:cxn ang="0">
                    <a:pos x="49" y="58"/>
                  </a:cxn>
                  <a:cxn ang="0">
                    <a:pos x="85" y="50"/>
                  </a:cxn>
                  <a:cxn ang="0">
                    <a:pos x="107" y="44"/>
                  </a:cxn>
                  <a:cxn ang="0">
                    <a:pos x="101" y="38"/>
                  </a:cxn>
                  <a:cxn ang="0">
                    <a:pos x="94" y="34"/>
                  </a:cxn>
                  <a:cxn ang="0">
                    <a:pos x="86" y="30"/>
                  </a:cxn>
                  <a:cxn ang="0">
                    <a:pos x="78" y="27"/>
                  </a:cxn>
                  <a:cxn ang="0">
                    <a:pos x="72" y="23"/>
                  </a:cxn>
                  <a:cxn ang="0">
                    <a:pos x="65" y="18"/>
                  </a:cxn>
                  <a:cxn ang="0">
                    <a:pos x="63" y="15"/>
                  </a:cxn>
                  <a:cxn ang="0">
                    <a:pos x="62" y="11"/>
                  </a:cxn>
                  <a:cxn ang="0">
                    <a:pos x="61" y="7"/>
                  </a:cxn>
                  <a:cxn ang="0">
                    <a:pos x="61" y="0"/>
                  </a:cxn>
                  <a:cxn ang="0">
                    <a:pos x="54" y="1"/>
                  </a:cxn>
                  <a:cxn ang="0">
                    <a:pos x="38" y="4"/>
                  </a:cxn>
                  <a:cxn ang="0">
                    <a:pos x="18" y="9"/>
                  </a:cxn>
                  <a:cxn ang="0">
                    <a:pos x="0" y="13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31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/>
                <a:ahLst/>
                <a:cxnLst>
                  <a:cxn ang="0">
                    <a:pos x="992" y="124"/>
                  </a:cxn>
                  <a:cxn ang="0">
                    <a:pos x="970" y="103"/>
                  </a:cxn>
                  <a:cxn ang="0">
                    <a:pos x="962" y="57"/>
                  </a:cxn>
                  <a:cxn ang="0">
                    <a:pos x="936" y="36"/>
                  </a:cxn>
                  <a:cxn ang="0">
                    <a:pos x="817" y="19"/>
                  </a:cxn>
                  <a:cxn ang="0">
                    <a:pos x="726" y="58"/>
                  </a:cxn>
                  <a:cxn ang="0">
                    <a:pos x="678" y="65"/>
                  </a:cxn>
                  <a:cxn ang="0">
                    <a:pos x="632" y="65"/>
                  </a:cxn>
                  <a:cxn ang="0">
                    <a:pos x="612" y="44"/>
                  </a:cxn>
                  <a:cxn ang="0">
                    <a:pos x="560" y="37"/>
                  </a:cxn>
                  <a:cxn ang="0">
                    <a:pos x="525" y="19"/>
                  </a:cxn>
                  <a:cxn ang="0">
                    <a:pos x="483" y="21"/>
                  </a:cxn>
                  <a:cxn ang="0">
                    <a:pos x="465" y="0"/>
                  </a:cxn>
                  <a:cxn ang="0">
                    <a:pos x="390" y="16"/>
                  </a:cxn>
                  <a:cxn ang="0">
                    <a:pos x="299" y="26"/>
                  </a:cxn>
                  <a:cxn ang="0">
                    <a:pos x="257" y="45"/>
                  </a:cxn>
                  <a:cxn ang="0">
                    <a:pos x="138" y="61"/>
                  </a:cxn>
                  <a:cxn ang="0">
                    <a:pos x="173" y="75"/>
                  </a:cxn>
                  <a:cxn ang="0">
                    <a:pos x="164" y="90"/>
                  </a:cxn>
                  <a:cxn ang="0">
                    <a:pos x="114" y="93"/>
                  </a:cxn>
                  <a:cxn ang="0">
                    <a:pos x="42" y="94"/>
                  </a:cxn>
                  <a:cxn ang="0">
                    <a:pos x="8" y="110"/>
                  </a:cxn>
                  <a:cxn ang="0">
                    <a:pos x="0" y="147"/>
                  </a:cxn>
                  <a:cxn ang="0">
                    <a:pos x="16" y="167"/>
                  </a:cxn>
                  <a:cxn ang="0">
                    <a:pos x="22" y="193"/>
                  </a:cxn>
                  <a:cxn ang="0">
                    <a:pos x="21" y="210"/>
                  </a:cxn>
                  <a:cxn ang="0">
                    <a:pos x="49" y="237"/>
                  </a:cxn>
                  <a:cxn ang="0">
                    <a:pos x="56" y="259"/>
                  </a:cxn>
                  <a:cxn ang="0">
                    <a:pos x="74" y="271"/>
                  </a:cxn>
                  <a:cxn ang="0">
                    <a:pos x="96" y="290"/>
                  </a:cxn>
                  <a:cxn ang="0">
                    <a:pos x="205" y="352"/>
                  </a:cxn>
                  <a:cxn ang="0">
                    <a:pos x="253" y="370"/>
                  </a:cxn>
                  <a:cxn ang="0">
                    <a:pos x="267" y="358"/>
                  </a:cxn>
                  <a:cxn ang="0">
                    <a:pos x="277" y="338"/>
                  </a:cxn>
                  <a:cxn ang="0">
                    <a:pos x="297" y="316"/>
                  </a:cxn>
                  <a:cxn ang="0">
                    <a:pos x="334" y="323"/>
                  </a:cxn>
                  <a:cxn ang="0">
                    <a:pos x="362" y="358"/>
                  </a:cxn>
                  <a:cxn ang="0">
                    <a:pos x="399" y="370"/>
                  </a:cxn>
                  <a:cxn ang="0">
                    <a:pos x="447" y="359"/>
                  </a:cxn>
                  <a:cxn ang="0">
                    <a:pos x="493" y="335"/>
                  </a:cxn>
                  <a:cxn ang="0">
                    <a:pos x="525" y="327"/>
                  </a:cxn>
                  <a:cxn ang="0">
                    <a:pos x="564" y="326"/>
                  </a:cxn>
                  <a:cxn ang="0">
                    <a:pos x="567" y="367"/>
                  </a:cxn>
                  <a:cxn ang="0">
                    <a:pos x="590" y="377"/>
                  </a:cxn>
                  <a:cxn ang="0">
                    <a:pos x="613" y="362"/>
                  </a:cxn>
                  <a:cxn ang="0">
                    <a:pos x="647" y="336"/>
                  </a:cxn>
                  <a:cxn ang="0">
                    <a:pos x="752" y="327"/>
                  </a:cxn>
                  <a:cxn ang="0">
                    <a:pos x="831" y="315"/>
                  </a:cxn>
                  <a:cxn ang="0">
                    <a:pos x="918" y="283"/>
                  </a:cxn>
                  <a:cxn ang="0">
                    <a:pos x="967" y="286"/>
                  </a:cxn>
                  <a:cxn ang="0">
                    <a:pos x="1005" y="293"/>
                  </a:cxn>
                  <a:cxn ang="0">
                    <a:pos x="1056" y="308"/>
                  </a:cxn>
                  <a:cxn ang="0">
                    <a:pos x="1056" y="268"/>
                  </a:cxn>
                  <a:cxn ang="0">
                    <a:pos x="1026" y="219"/>
                  </a:cxn>
                  <a:cxn ang="0">
                    <a:pos x="1017" y="167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4484" name="Freeform 541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3581794" y="4477316"/>
              <a:ext cx="96011" cy="117744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1716635040 h 237"/>
                <a:gd name="T46" fmla="*/ 2147483647 w 226"/>
                <a:gd name="T47" fmla="*/ 858441226 h 237"/>
                <a:gd name="T48" fmla="*/ 2147483647 w 226"/>
                <a:gd name="T49" fmla="*/ 245339247 h 237"/>
                <a:gd name="T50" fmla="*/ 1533524238 w 226"/>
                <a:gd name="T51" fmla="*/ 735771385 h 237"/>
                <a:gd name="T52" fmla="*/ 1380117394 w 226"/>
                <a:gd name="T53" fmla="*/ 2147483647 h 237"/>
                <a:gd name="T54" fmla="*/ 766672056 w 226"/>
                <a:gd name="T55" fmla="*/ 2147483647 h 237"/>
                <a:gd name="T56" fmla="*/ 229929396 w 226"/>
                <a:gd name="T57" fmla="*/ 2147483647 h 237"/>
                <a:gd name="T58" fmla="*/ 0 w 226"/>
                <a:gd name="T59" fmla="*/ 2147483647 h 237"/>
                <a:gd name="T60" fmla="*/ 229929396 w 226"/>
                <a:gd name="T61" fmla="*/ 2147483647 h 237"/>
                <a:gd name="T62" fmla="*/ 766672056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5" name="Freeform 542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7368883" y="3934468"/>
              <a:ext cx="199641" cy="441924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644080818 h 875"/>
                <a:gd name="T96" fmla="*/ 2147483647 w 478"/>
                <a:gd name="T97" fmla="*/ 2061314276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6" name="Freeform 543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7452701" y="4595060"/>
              <a:ext cx="24384" cy="55049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17837469 w 59"/>
                <a:gd name="T15" fmla="*/ 2147483647 h 31"/>
                <a:gd name="T16" fmla="*/ 1835322039 w 59"/>
                <a:gd name="T17" fmla="*/ 2147483647 h 31"/>
                <a:gd name="T18" fmla="*/ 1482434816 w 59"/>
                <a:gd name="T19" fmla="*/ 2147483647 h 31"/>
                <a:gd name="T20" fmla="*/ 1200090486 w 59"/>
                <a:gd name="T21" fmla="*/ 2147483647 h 31"/>
                <a:gd name="T22" fmla="*/ 988289464 w 59"/>
                <a:gd name="T23" fmla="*/ 2147483647 h 31"/>
                <a:gd name="T24" fmla="*/ 776489061 w 59"/>
                <a:gd name="T25" fmla="*/ 2147483647 h 31"/>
                <a:gd name="T26" fmla="*/ 282344019 w 59"/>
                <a:gd name="T27" fmla="*/ 2147483647 h 31"/>
                <a:gd name="T28" fmla="*/ 0 w 59"/>
                <a:gd name="T29" fmla="*/ 2147483647 h 31"/>
                <a:gd name="T30" fmla="*/ 70543333 w 59"/>
                <a:gd name="T31" fmla="*/ 2147483647 h 31"/>
                <a:gd name="T32" fmla="*/ 211800661 w 59"/>
                <a:gd name="T33" fmla="*/ 2147483647 h 31"/>
                <a:gd name="T34" fmla="*/ 352887326 w 59"/>
                <a:gd name="T35" fmla="*/ 2147483647 h 31"/>
                <a:gd name="T36" fmla="*/ 564688452 w 59"/>
                <a:gd name="T37" fmla="*/ 2147483647 h 31"/>
                <a:gd name="T38" fmla="*/ 1129547179 w 59"/>
                <a:gd name="T39" fmla="*/ 2147483647 h 31"/>
                <a:gd name="T40" fmla="*/ 1694235011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FFC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7" name="Freeform 544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196942" y="3880949"/>
              <a:ext cx="167638" cy="261484"/>
            </a:xfrm>
            <a:custGeom>
              <a:avLst/>
              <a:gdLst>
                <a:gd name="T0" fmla="*/ 2147483647 w 399"/>
                <a:gd name="T1" fmla="*/ 1028956470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1260720983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8" name="Freeform 545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4974711" y="3932940"/>
              <a:ext cx="361183" cy="37158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126575381 h 740"/>
                <a:gd name="T8" fmla="*/ 2147483647 w 866"/>
                <a:gd name="T9" fmla="*/ 759704923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1450897977 w 866"/>
                <a:gd name="T87" fmla="*/ 2147483647 h 740"/>
                <a:gd name="T88" fmla="*/ 362681119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89" name="Freeform 546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657724" y="3564415"/>
              <a:ext cx="288032" cy="250780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352814385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1514154600 h 500"/>
                <a:gd name="T88" fmla="*/ 2147483647 w 697"/>
                <a:gd name="T89" fmla="*/ 1009268628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1640186566 h 500"/>
                <a:gd name="T96" fmla="*/ 2147483647 w 697"/>
                <a:gd name="T97" fmla="*/ 214507228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90" name="Freeform 547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329799" y="2533769"/>
              <a:ext cx="227072" cy="88691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1886295415 h 173"/>
                <a:gd name="T18" fmla="*/ 2147483647 w 546"/>
                <a:gd name="T19" fmla="*/ 1482070689 h 173"/>
                <a:gd name="T20" fmla="*/ 2147483647 w 546"/>
                <a:gd name="T21" fmla="*/ 404224854 h 173"/>
                <a:gd name="T22" fmla="*/ 2147483647 w 546"/>
                <a:gd name="T23" fmla="*/ 673620980 h 173"/>
                <a:gd name="T24" fmla="*/ 2147483647 w 546"/>
                <a:gd name="T25" fmla="*/ 1616899417 h 173"/>
                <a:gd name="T26" fmla="*/ 2147483647 w 546"/>
                <a:gd name="T27" fmla="*/ 943279462 h 173"/>
                <a:gd name="T28" fmla="*/ 2147483647 w 546"/>
                <a:gd name="T29" fmla="*/ 0 h 173"/>
                <a:gd name="T30" fmla="*/ 2147483647 w 546"/>
                <a:gd name="T31" fmla="*/ 943279462 h 173"/>
                <a:gd name="T32" fmla="*/ 2147483647 w 546"/>
                <a:gd name="T33" fmla="*/ 943279462 h 173"/>
                <a:gd name="T34" fmla="*/ 2147483647 w 546"/>
                <a:gd name="T35" fmla="*/ 134829305 h 173"/>
                <a:gd name="T36" fmla="*/ 2147483647 w 546"/>
                <a:gd name="T37" fmla="*/ 808450221 h 173"/>
                <a:gd name="T38" fmla="*/ 2147483647 w 546"/>
                <a:gd name="T39" fmla="*/ 161689941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1150865675 w 546"/>
                <a:gd name="T95" fmla="*/ 2147483647 h 173"/>
                <a:gd name="T96" fmla="*/ 791285055 w 546"/>
                <a:gd name="T97" fmla="*/ 2147483647 h 173"/>
                <a:gd name="T98" fmla="*/ 2014100291 w 546"/>
                <a:gd name="T99" fmla="*/ 2147483647 h 173"/>
                <a:gd name="T100" fmla="*/ 2147483647 w 546"/>
                <a:gd name="T101" fmla="*/ 161689941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91" name="Freeform 548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820520" y="2518477"/>
              <a:ext cx="103631" cy="58108"/>
            </a:xfrm>
            <a:custGeom>
              <a:avLst/>
              <a:gdLst>
                <a:gd name="T0" fmla="*/ 2018469353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1046680002 w 246"/>
                <a:gd name="T91" fmla="*/ 2147483647 h 42"/>
                <a:gd name="T92" fmla="*/ 0 w 246"/>
                <a:gd name="T93" fmla="*/ 2147483647 h 42"/>
                <a:gd name="T94" fmla="*/ 74712061 w 246"/>
                <a:gd name="T95" fmla="*/ 2147483647 h 42"/>
                <a:gd name="T96" fmla="*/ 224313983 w 246"/>
                <a:gd name="T97" fmla="*/ 2147483647 h 42"/>
                <a:gd name="T98" fmla="*/ 373738053 w 246"/>
                <a:gd name="T99" fmla="*/ 2147483647 h 42"/>
                <a:gd name="T100" fmla="*/ 672764492 w 246"/>
                <a:gd name="T101" fmla="*/ 2147483647 h 42"/>
                <a:gd name="T102" fmla="*/ 1270816106 w 246"/>
                <a:gd name="T103" fmla="*/ 2147483647 h 42"/>
                <a:gd name="T104" fmla="*/ 2018469353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92" name="Freeform 549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57678" y="2501657"/>
              <a:ext cx="60959" cy="55049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734591044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1711960808 w 149"/>
                <a:gd name="T57" fmla="*/ 2147483647 h 61"/>
                <a:gd name="T58" fmla="*/ 821667456 w 149"/>
                <a:gd name="T59" fmla="*/ 2147483647 h 61"/>
                <a:gd name="T60" fmla="*/ 205374929 w 149"/>
                <a:gd name="T61" fmla="*/ 2147483647 h 61"/>
                <a:gd name="T62" fmla="*/ 68458182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05374929 w 149"/>
                <a:gd name="T69" fmla="*/ 2147483647 h 61"/>
                <a:gd name="T70" fmla="*/ 1301043313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93" name="Freeform 550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992729" y="2509302"/>
              <a:ext cx="124966" cy="55049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1235178166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876016527 w 299"/>
                <a:gd name="T63" fmla="*/ 2147483647 h 74"/>
                <a:gd name="T64" fmla="*/ 146031749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18" name="Group 391"/>
            <p:cNvGrpSpPr>
              <a:grpSpLocks/>
            </p:cNvGrpSpPr>
            <p:nvPr>
              <p:custDataLst>
                <p:tags r:id="rId380"/>
              </p:custDataLst>
            </p:nvPr>
          </p:nvGrpSpPr>
          <p:grpSpPr bwMode="auto">
            <a:xfrm>
              <a:off x="2252874" y="2276877"/>
              <a:ext cx="1821127" cy="1091816"/>
              <a:chOff x="527" y="1110"/>
              <a:chExt cx="1410" cy="709"/>
            </a:xfrm>
            <a:solidFill>
              <a:srgbClr val="FFC000"/>
            </a:solidFill>
          </p:grpSpPr>
          <p:sp>
            <p:nvSpPr>
              <p:cNvPr id="385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/>
                <a:ahLst/>
                <a:cxnLst>
                  <a:cxn ang="0">
                    <a:pos x="0" y="41"/>
                  </a:cxn>
                  <a:cxn ang="0">
                    <a:pos x="5" y="46"/>
                  </a:cxn>
                  <a:cxn ang="0">
                    <a:pos x="13" y="50"/>
                  </a:cxn>
                  <a:cxn ang="0">
                    <a:pos x="23" y="53"/>
                  </a:cxn>
                  <a:cxn ang="0">
                    <a:pos x="32" y="54"/>
                  </a:cxn>
                  <a:cxn ang="0">
                    <a:pos x="38" y="54"/>
                  </a:cxn>
                  <a:cxn ang="0">
                    <a:pos x="45" y="53"/>
                  </a:cxn>
                  <a:cxn ang="0">
                    <a:pos x="50" y="51"/>
                  </a:cxn>
                  <a:cxn ang="0">
                    <a:pos x="56" y="49"/>
                  </a:cxn>
                  <a:cxn ang="0">
                    <a:pos x="67" y="42"/>
                  </a:cxn>
                  <a:cxn ang="0">
                    <a:pos x="75" y="35"/>
                  </a:cxn>
                  <a:cxn ang="0">
                    <a:pos x="84" y="28"/>
                  </a:cxn>
                  <a:cxn ang="0">
                    <a:pos x="91" y="20"/>
                  </a:cxn>
                  <a:cxn ang="0">
                    <a:pos x="95" y="12"/>
                  </a:cxn>
                  <a:cxn ang="0">
                    <a:pos x="98" y="4"/>
                  </a:cxn>
                  <a:cxn ang="0">
                    <a:pos x="91" y="2"/>
                  </a:cxn>
                  <a:cxn ang="0">
                    <a:pos x="83" y="0"/>
                  </a:cxn>
                  <a:cxn ang="0">
                    <a:pos x="75" y="0"/>
                  </a:cxn>
                  <a:cxn ang="0">
                    <a:pos x="68" y="0"/>
                  </a:cxn>
                  <a:cxn ang="0">
                    <a:pos x="59" y="1"/>
                  </a:cxn>
                  <a:cxn ang="0">
                    <a:pos x="51" y="3"/>
                  </a:cxn>
                  <a:cxn ang="0">
                    <a:pos x="43" y="6"/>
                  </a:cxn>
                  <a:cxn ang="0">
                    <a:pos x="37" y="9"/>
                  </a:cxn>
                  <a:cxn ang="0">
                    <a:pos x="23" y="17"/>
                  </a:cxn>
                  <a:cxn ang="0">
                    <a:pos x="12" y="25"/>
                  </a:cxn>
                  <a:cxn ang="0">
                    <a:pos x="7" y="29"/>
                  </a:cxn>
                  <a:cxn ang="0">
                    <a:pos x="4" y="33"/>
                  </a:cxn>
                  <a:cxn ang="0">
                    <a:pos x="1" y="37"/>
                  </a:cxn>
                  <a:cxn ang="0">
                    <a:pos x="0" y="41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86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1" y="28"/>
                  </a:cxn>
                  <a:cxn ang="0">
                    <a:pos x="21" y="27"/>
                  </a:cxn>
                  <a:cxn ang="0">
                    <a:pos x="31" y="25"/>
                  </a:cxn>
                  <a:cxn ang="0">
                    <a:pos x="41" y="21"/>
                  </a:cxn>
                  <a:cxn ang="0">
                    <a:pos x="49" y="17"/>
                  </a:cxn>
                  <a:cxn ang="0">
                    <a:pos x="57" y="12"/>
                  </a:cxn>
                  <a:cxn ang="0">
                    <a:pos x="63" y="7"/>
                  </a:cxn>
                  <a:cxn ang="0">
                    <a:pos x="67" y="3"/>
                  </a:cxn>
                  <a:cxn ang="0">
                    <a:pos x="57" y="1"/>
                  </a:cxn>
                  <a:cxn ang="0">
                    <a:pos x="46" y="0"/>
                  </a:cxn>
                  <a:cxn ang="0">
                    <a:pos x="36" y="1"/>
                  </a:cxn>
                  <a:cxn ang="0">
                    <a:pos x="26" y="3"/>
                  </a:cxn>
                  <a:cxn ang="0">
                    <a:pos x="17" y="7"/>
                  </a:cxn>
                  <a:cxn ang="0">
                    <a:pos x="10" y="12"/>
                  </a:cxn>
                  <a:cxn ang="0">
                    <a:pos x="7" y="15"/>
                  </a:cxn>
                  <a:cxn ang="0">
                    <a:pos x="4" y="19"/>
                  </a:cxn>
                  <a:cxn ang="0">
                    <a:pos x="2" y="22"/>
                  </a:cxn>
                  <a:cxn ang="0">
                    <a:pos x="0" y="2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87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" y="24"/>
                  </a:cxn>
                  <a:cxn ang="0">
                    <a:pos x="4" y="29"/>
                  </a:cxn>
                  <a:cxn ang="0">
                    <a:pos x="6" y="32"/>
                  </a:cxn>
                  <a:cxn ang="0">
                    <a:pos x="8" y="34"/>
                  </a:cxn>
                  <a:cxn ang="0">
                    <a:pos x="11" y="36"/>
                  </a:cxn>
                  <a:cxn ang="0">
                    <a:pos x="13" y="36"/>
                  </a:cxn>
                  <a:cxn ang="0">
                    <a:pos x="32" y="36"/>
                  </a:cxn>
                  <a:cxn ang="0">
                    <a:pos x="32" y="22"/>
                  </a:cxn>
                  <a:cxn ang="0">
                    <a:pos x="31" y="14"/>
                  </a:cxn>
                  <a:cxn ang="0">
                    <a:pos x="30" y="7"/>
                  </a:cxn>
                  <a:cxn ang="0">
                    <a:pos x="26" y="0"/>
                  </a:cxn>
                  <a:cxn ang="0">
                    <a:pos x="19" y="2"/>
                  </a:cxn>
                  <a:cxn ang="0">
                    <a:pos x="11" y="7"/>
                  </a:cxn>
                  <a:cxn ang="0">
                    <a:pos x="6" y="10"/>
                  </a:cxn>
                  <a:cxn ang="0">
                    <a:pos x="3" y="13"/>
                  </a:cxn>
                  <a:cxn ang="0">
                    <a:pos x="1" y="16"/>
                  </a:cxn>
                  <a:cxn ang="0">
                    <a:pos x="0" y="18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88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11" y="46"/>
                  </a:cxn>
                  <a:cxn ang="0">
                    <a:pos x="22" y="48"/>
                  </a:cxn>
                  <a:cxn ang="0">
                    <a:pos x="33" y="51"/>
                  </a:cxn>
                  <a:cxn ang="0">
                    <a:pos x="43" y="52"/>
                  </a:cxn>
                  <a:cxn ang="0">
                    <a:pos x="63" y="52"/>
                  </a:cxn>
                  <a:cxn ang="0">
                    <a:pos x="82" y="51"/>
                  </a:cxn>
                  <a:cxn ang="0">
                    <a:pos x="117" y="46"/>
                  </a:cxn>
                  <a:cxn ang="0">
                    <a:pos x="146" y="43"/>
                  </a:cxn>
                  <a:cxn ang="0">
                    <a:pos x="144" y="36"/>
                  </a:cxn>
                  <a:cxn ang="0">
                    <a:pos x="142" y="30"/>
                  </a:cxn>
                  <a:cxn ang="0">
                    <a:pos x="139" y="24"/>
                  </a:cxn>
                  <a:cxn ang="0">
                    <a:pos x="137" y="19"/>
                  </a:cxn>
                  <a:cxn ang="0">
                    <a:pos x="134" y="15"/>
                  </a:cxn>
                  <a:cxn ang="0">
                    <a:pos x="129" y="11"/>
                  </a:cxn>
                  <a:cxn ang="0">
                    <a:pos x="125" y="8"/>
                  </a:cxn>
                  <a:cxn ang="0">
                    <a:pos x="121" y="6"/>
                  </a:cxn>
                  <a:cxn ang="0">
                    <a:pos x="111" y="2"/>
                  </a:cxn>
                  <a:cxn ang="0">
                    <a:pos x="101" y="0"/>
                  </a:cxn>
                  <a:cxn ang="0">
                    <a:pos x="89" y="1"/>
                  </a:cxn>
                  <a:cxn ang="0">
                    <a:pos x="78" y="2"/>
                  </a:cxn>
                  <a:cxn ang="0">
                    <a:pos x="66" y="5"/>
                  </a:cxn>
                  <a:cxn ang="0">
                    <a:pos x="54" y="9"/>
                  </a:cxn>
                  <a:cxn ang="0">
                    <a:pos x="43" y="14"/>
                  </a:cxn>
                  <a:cxn ang="0">
                    <a:pos x="32" y="19"/>
                  </a:cxn>
                  <a:cxn ang="0">
                    <a:pos x="22" y="25"/>
                  </a:cxn>
                  <a:cxn ang="0">
                    <a:pos x="13" y="31"/>
                  </a:cxn>
                  <a:cxn ang="0">
                    <a:pos x="5" y="37"/>
                  </a:cxn>
                  <a:cxn ang="0">
                    <a:pos x="0" y="43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89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49" y="0"/>
                  </a:cxn>
                  <a:cxn ang="0">
                    <a:pos x="38" y="0"/>
                  </a:cxn>
                  <a:cxn ang="0">
                    <a:pos x="31" y="0"/>
                  </a:cxn>
                  <a:cxn ang="0">
                    <a:pos x="27" y="0"/>
                  </a:cxn>
                  <a:cxn ang="0">
                    <a:pos x="18" y="0"/>
                  </a:cxn>
                  <a:cxn ang="0">
                    <a:pos x="9" y="2"/>
                  </a:cxn>
                  <a:cxn ang="0">
                    <a:pos x="5" y="3"/>
                  </a:cxn>
                  <a:cxn ang="0">
                    <a:pos x="2" y="5"/>
                  </a:cxn>
                  <a:cxn ang="0">
                    <a:pos x="1" y="8"/>
                  </a:cxn>
                  <a:cxn ang="0">
                    <a:pos x="0" y="12"/>
                  </a:cxn>
                  <a:cxn ang="0">
                    <a:pos x="1" y="15"/>
                  </a:cxn>
                  <a:cxn ang="0">
                    <a:pos x="2" y="18"/>
                  </a:cxn>
                  <a:cxn ang="0">
                    <a:pos x="5" y="22"/>
                  </a:cxn>
                  <a:cxn ang="0">
                    <a:pos x="9" y="24"/>
                  </a:cxn>
                  <a:cxn ang="0">
                    <a:pos x="12" y="27"/>
                  </a:cxn>
                  <a:cxn ang="0">
                    <a:pos x="18" y="29"/>
                  </a:cxn>
                  <a:cxn ang="0">
                    <a:pos x="22" y="31"/>
                  </a:cxn>
                  <a:cxn ang="0">
                    <a:pos x="27" y="31"/>
                  </a:cxn>
                  <a:cxn ang="0">
                    <a:pos x="32" y="30"/>
                  </a:cxn>
                  <a:cxn ang="0">
                    <a:pos x="37" y="28"/>
                  </a:cxn>
                  <a:cxn ang="0">
                    <a:pos x="43" y="24"/>
                  </a:cxn>
                  <a:cxn ang="0">
                    <a:pos x="48" y="18"/>
                  </a:cxn>
                  <a:cxn ang="0">
                    <a:pos x="57" y="10"/>
                  </a:cxn>
                  <a:cxn ang="0">
                    <a:pos x="60" y="6"/>
                  </a:cxn>
                  <a:cxn ang="0">
                    <a:pos x="60" y="0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0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/>
                <a:ahLst/>
                <a:cxnLst>
                  <a:cxn ang="0">
                    <a:pos x="0" y="43"/>
                  </a:cxn>
                  <a:cxn ang="0">
                    <a:pos x="1" y="46"/>
                  </a:cxn>
                  <a:cxn ang="0">
                    <a:pos x="1" y="49"/>
                  </a:cxn>
                  <a:cxn ang="0">
                    <a:pos x="3" y="51"/>
                  </a:cxn>
                  <a:cxn ang="0">
                    <a:pos x="4" y="53"/>
                  </a:cxn>
                  <a:cxn ang="0">
                    <a:pos x="10" y="57"/>
                  </a:cxn>
                  <a:cxn ang="0">
                    <a:pos x="15" y="59"/>
                  </a:cxn>
                  <a:cxn ang="0">
                    <a:pos x="28" y="62"/>
                  </a:cxn>
                  <a:cxn ang="0">
                    <a:pos x="40" y="62"/>
                  </a:cxn>
                  <a:cxn ang="0">
                    <a:pos x="45" y="62"/>
                  </a:cxn>
                  <a:cxn ang="0">
                    <a:pos x="49" y="59"/>
                  </a:cxn>
                  <a:cxn ang="0">
                    <a:pos x="54" y="57"/>
                  </a:cxn>
                  <a:cxn ang="0">
                    <a:pos x="58" y="54"/>
                  </a:cxn>
                  <a:cxn ang="0">
                    <a:pos x="65" y="47"/>
                  </a:cxn>
                  <a:cxn ang="0">
                    <a:pos x="70" y="38"/>
                  </a:cxn>
                  <a:cxn ang="0">
                    <a:pos x="74" y="28"/>
                  </a:cxn>
                  <a:cxn ang="0">
                    <a:pos x="78" y="18"/>
                  </a:cxn>
                  <a:cxn ang="0">
                    <a:pos x="79" y="8"/>
                  </a:cxn>
                  <a:cxn ang="0">
                    <a:pos x="80" y="0"/>
                  </a:cxn>
                  <a:cxn ang="0">
                    <a:pos x="71" y="0"/>
                  </a:cxn>
                  <a:cxn ang="0">
                    <a:pos x="59" y="3"/>
                  </a:cxn>
                  <a:cxn ang="0">
                    <a:pos x="46" y="8"/>
                  </a:cxn>
                  <a:cxn ang="0">
                    <a:pos x="33" y="13"/>
                  </a:cxn>
                  <a:cxn ang="0">
                    <a:pos x="21" y="19"/>
                  </a:cxn>
                  <a:cxn ang="0">
                    <a:pos x="10" y="26"/>
                  </a:cxn>
                  <a:cxn ang="0">
                    <a:pos x="6" y="30"/>
                  </a:cxn>
                  <a:cxn ang="0">
                    <a:pos x="3" y="34"/>
                  </a:cxn>
                  <a:cxn ang="0">
                    <a:pos x="1" y="39"/>
                  </a:cxn>
                  <a:cxn ang="0">
                    <a:pos x="0" y="43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1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/>
                <a:ahLst/>
                <a:cxnLst>
                  <a:cxn ang="0">
                    <a:pos x="80" y="13"/>
                  </a:cxn>
                  <a:cxn ang="0">
                    <a:pos x="72" y="12"/>
                  </a:cxn>
                  <a:cxn ang="0">
                    <a:pos x="66" y="11"/>
                  </a:cxn>
                  <a:cxn ang="0">
                    <a:pos x="59" y="8"/>
                  </a:cxn>
                  <a:cxn ang="0">
                    <a:pos x="53" y="6"/>
                  </a:cxn>
                  <a:cxn ang="0">
                    <a:pos x="47" y="4"/>
                  </a:cxn>
                  <a:cxn ang="0">
                    <a:pos x="41" y="2"/>
                  </a:cxn>
                  <a:cxn ang="0">
                    <a:pos x="34" y="0"/>
                  </a:cxn>
                  <a:cxn ang="0">
                    <a:pos x="26" y="0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9" y="11"/>
                  </a:cxn>
                  <a:cxn ang="0">
                    <a:pos x="17" y="21"/>
                  </a:cxn>
                  <a:cxn ang="0">
                    <a:pos x="26" y="29"/>
                  </a:cxn>
                  <a:cxn ang="0">
                    <a:pos x="34" y="36"/>
                  </a:cxn>
                  <a:cxn ang="0">
                    <a:pos x="42" y="42"/>
                  </a:cxn>
                  <a:cxn ang="0">
                    <a:pos x="52" y="46"/>
                  </a:cxn>
                  <a:cxn ang="0">
                    <a:pos x="61" y="48"/>
                  </a:cxn>
                  <a:cxn ang="0">
                    <a:pos x="72" y="49"/>
                  </a:cxn>
                  <a:cxn ang="0">
                    <a:pos x="79" y="48"/>
                  </a:cxn>
                  <a:cxn ang="0">
                    <a:pos x="87" y="45"/>
                  </a:cxn>
                  <a:cxn ang="0">
                    <a:pos x="97" y="39"/>
                  </a:cxn>
                  <a:cxn ang="0">
                    <a:pos x="106" y="31"/>
                  </a:cxn>
                  <a:cxn ang="0">
                    <a:pos x="101" y="30"/>
                  </a:cxn>
                  <a:cxn ang="0">
                    <a:pos x="98" y="28"/>
                  </a:cxn>
                  <a:cxn ang="0">
                    <a:pos x="93" y="25"/>
                  </a:cxn>
                  <a:cxn ang="0">
                    <a:pos x="90" y="22"/>
                  </a:cxn>
                  <a:cxn ang="0">
                    <a:pos x="88" y="19"/>
                  </a:cxn>
                  <a:cxn ang="0">
                    <a:pos x="84" y="16"/>
                  </a:cxn>
                  <a:cxn ang="0">
                    <a:pos x="82" y="14"/>
                  </a:cxn>
                  <a:cxn ang="0">
                    <a:pos x="80" y="13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2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5" y="21"/>
                  </a:cxn>
                  <a:cxn ang="0">
                    <a:pos x="12" y="22"/>
                  </a:cxn>
                  <a:cxn ang="0">
                    <a:pos x="18" y="22"/>
                  </a:cxn>
                  <a:cxn ang="0">
                    <a:pos x="26" y="21"/>
                  </a:cxn>
                  <a:cxn ang="0">
                    <a:pos x="33" y="19"/>
                  </a:cxn>
                  <a:cxn ang="0">
                    <a:pos x="38" y="15"/>
                  </a:cxn>
                  <a:cxn ang="0">
                    <a:pos x="41" y="12"/>
                  </a:cxn>
                  <a:cxn ang="0">
                    <a:pos x="44" y="9"/>
                  </a:cxn>
                  <a:cxn ang="0">
                    <a:pos x="45" y="5"/>
                  </a:cxn>
                  <a:cxn ang="0">
                    <a:pos x="47" y="0"/>
                  </a:cxn>
                  <a:cxn ang="0">
                    <a:pos x="0" y="19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3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37" y="9"/>
                  </a:cxn>
                  <a:cxn ang="0">
                    <a:pos x="23" y="18"/>
                  </a:cxn>
                  <a:cxn ang="0">
                    <a:pos x="11" y="26"/>
                  </a:cxn>
                  <a:cxn ang="0">
                    <a:pos x="0" y="32"/>
                  </a:cxn>
                  <a:cxn ang="0">
                    <a:pos x="13" y="32"/>
                  </a:cxn>
                  <a:cxn ang="0">
                    <a:pos x="26" y="32"/>
                  </a:cxn>
                  <a:cxn ang="0">
                    <a:pos x="39" y="32"/>
                  </a:cxn>
                  <a:cxn ang="0">
                    <a:pos x="53" y="32"/>
                  </a:cxn>
                  <a:cxn ang="0">
                    <a:pos x="53" y="24"/>
                  </a:cxn>
                  <a:cxn ang="0">
                    <a:pos x="53" y="16"/>
                  </a:cxn>
                  <a:cxn ang="0">
                    <a:pos x="53" y="9"/>
                  </a:cxn>
                  <a:cxn ang="0">
                    <a:pos x="53" y="0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4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/>
                <a:ahLst/>
                <a:cxnLst>
                  <a:cxn ang="0">
                    <a:pos x="27" y="3"/>
                  </a:cxn>
                  <a:cxn ang="0">
                    <a:pos x="0" y="16"/>
                  </a:cxn>
                  <a:cxn ang="0">
                    <a:pos x="0" y="34"/>
                  </a:cxn>
                  <a:cxn ang="0">
                    <a:pos x="27" y="34"/>
                  </a:cxn>
                  <a:cxn ang="0">
                    <a:pos x="31" y="32"/>
                  </a:cxn>
                  <a:cxn ang="0">
                    <a:pos x="35" y="28"/>
                  </a:cxn>
                  <a:cxn ang="0">
                    <a:pos x="39" y="25"/>
                  </a:cxn>
                  <a:cxn ang="0">
                    <a:pos x="42" y="21"/>
                  </a:cxn>
                  <a:cxn ang="0">
                    <a:pos x="44" y="17"/>
                  </a:cxn>
                  <a:cxn ang="0">
                    <a:pos x="45" y="13"/>
                  </a:cxn>
                  <a:cxn ang="0">
                    <a:pos x="46" y="8"/>
                  </a:cxn>
                  <a:cxn ang="0">
                    <a:pos x="46" y="3"/>
                  </a:cxn>
                  <a:cxn ang="0">
                    <a:pos x="46" y="1"/>
                  </a:cxn>
                  <a:cxn ang="0">
                    <a:pos x="44" y="0"/>
                  </a:cxn>
                  <a:cxn ang="0">
                    <a:pos x="42" y="0"/>
                  </a:cxn>
                  <a:cxn ang="0">
                    <a:pos x="39" y="0"/>
                  </a:cxn>
                  <a:cxn ang="0">
                    <a:pos x="32" y="2"/>
                  </a:cxn>
                  <a:cxn ang="0">
                    <a:pos x="27" y="3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5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14" y="25"/>
                  </a:cxn>
                  <a:cxn ang="0">
                    <a:pos x="28" y="25"/>
                  </a:cxn>
                  <a:cxn ang="0">
                    <a:pos x="30" y="24"/>
                  </a:cxn>
                  <a:cxn ang="0">
                    <a:pos x="33" y="22"/>
                  </a:cxn>
                  <a:cxn ang="0">
                    <a:pos x="37" y="18"/>
                  </a:cxn>
                  <a:cxn ang="0">
                    <a:pos x="40" y="15"/>
                  </a:cxn>
                  <a:cxn ang="0">
                    <a:pos x="45" y="7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3" y="2"/>
                  </a:cxn>
                  <a:cxn ang="0">
                    <a:pos x="28" y="5"/>
                  </a:cxn>
                  <a:cxn ang="0">
                    <a:pos x="21" y="8"/>
                  </a:cxn>
                  <a:cxn ang="0">
                    <a:pos x="11" y="16"/>
                  </a:cxn>
                  <a:cxn ang="0">
                    <a:pos x="0" y="25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6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7"/>
                  </a:cxn>
                  <a:cxn ang="0">
                    <a:pos x="11" y="36"/>
                  </a:cxn>
                  <a:cxn ang="0">
                    <a:pos x="20" y="34"/>
                  </a:cxn>
                  <a:cxn ang="0">
                    <a:pos x="22" y="33"/>
                  </a:cxn>
                  <a:cxn ang="0">
                    <a:pos x="26" y="32"/>
                  </a:cxn>
                  <a:cxn ang="0">
                    <a:pos x="28" y="30"/>
                  </a:cxn>
                  <a:cxn ang="0">
                    <a:pos x="29" y="28"/>
                  </a:cxn>
                  <a:cxn ang="0">
                    <a:pos x="30" y="23"/>
                  </a:cxn>
                  <a:cxn ang="0">
                    <a:pos x="30" y="16"/>
                  </a:cxn>
                  <a:cxn ang="0">
                    <a:pos x="29" y="9"/>
                  </a:cxn>
                  <a:cxn ang="0">
                    <a:pos x="27" y="0"/>
                  </a:cxn>
                  <a:cxn ang="0">
                    <a:pos x="0" y="0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7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/>
                <a:ahLst/>
                <a:cxnLst>
                  <a:cxn ang="0">
                    <a:pos x="33" y="3"/>
                  </a:cxn>
                  <a:cxn ang="0">
                    <a:pos x="22" y="3"/>
                  </a:cxn>
                  <a:cxn ang="0">
                    <a:pos x="12" y="5"/>
                  </a:cxn>
                  <a:cxn ang="0">
                    <a:pos x="7" y="7"/>
                  </a:cxn>
                  <a:cxn ang="0">
                    <a:pos x="3" y="11"/>
                  </a:cxn>
                  <a:cxn ang="0">
                    <a:pos x="1" y="15"/>
                  </a:cxn>
                  <a:cxn ang="0">
                    <a:pos x="0" y="21"/>
                  </a:cxn>
                  <a:cxn ang="0">
                    <a:pos x="6" y="27"/>
                  </a:cxn>
                  <a:cxn ang="0">
                    <a:pos x="10" y="33"/>
                  </a:cxn>
                  <a:cxn ang="0">
                    <a:pos x="16" y="37"/>
                  </a:cxn>
                  <a:cxn ang="0">
                    <a:pos x="20" y="41"/>
                  </a:cxn>
                  <a:cxn ang="0">
                    <a:pos x="25" y="43"/>
                  </a:cxn>
                  <a:cxn ang="0">
                    <a:pos x="30" y="45"/>
                  </a:cxn>
                  <a:cxn ang="0">
                    <a:pos x="35" y="46"/>
                  </a:cxn>
                  <a:cxn ang="0">
                    <a:pos x="40" y="46"/>
                  </a:cxn>
                  <a:cxn ang="0">
                    <a:pos x="56" y="46"/>
                  </a:cxn>
                  <a:cxn ang="0">
                    <a:pos x="70" y="43"/>
                  </a:cxn>
                  <a:cxn ang="0">
                    <a:pos x="76" y="41"/>
                  </a:cxn>
                  <a:cxn ang="0">
                    <a:pos x="81" y="38"/>
                  </a:cxn>
                  <a:cxn ang="0">
                    <a:pos x="87" y="36"/>
                  </a:cxn>
                  <a:cxn ang="0">
                    <a:pos x="91" y="33"/>
                  </a:cxn>
                  <a:cxn ang="0">
                    <a:pos x="99" y="27"/>
                  </a:cxn>
                  <a:cxn ang="0">
                    <a:pos x="106" y="20"/>
                  </a:cxn>
                  <a:cxn ang="0">
                    <a:pos x="110" y="12"/>
                  </a:cxn>
                  <a:cxn ang="0">
                    <a:pos x="113" y="3"/>
                  </a:cxn>
                  <a:cxn ang="0">
                    <a:pos x="99" y="1"/>
                  </a:cxn>
                  <a:cxn ang="0">
                    <a:pos x="87" y="0"/>
                  </a:cxn>
                  <a:cxn ang="0">
                    <a:pos x="76" y="0"/>
                  </a:cxn>
                  <a:cxn ang="0">
                    <a:pos x="66" y="1"/>
                  </a:cxn>
                  <a:cxn ang="0">
                    <a:pos x="48" y="2"/>
                  </a:cxn>
                  <a:cxn ang="0">
                    <a:pos x="33" y="3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8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/>
                <a:ahLst/>
                <a:cxnLst>
                  <a:cxn ang="0">
                    <a:pos x="0" y="79"/>
                  </a:cxn>
                  <a:cxn ang="0">
                    <a:pos x="2" y="81"/>
                  </a:cxn>
                  <a:cxn ang="0">
                    <a:pos x="6" y="82"/>
                  </a:cxn>
                  <a:cxn ang="0">
                    <a:pos x="10" y="82"/>
                  </a:cxn>
                  <a:cxn ang="0">
                    <a:pos x="14" y="82"/>
                  </a:cxn>
                  <a:cxn ang="0">
                    <a:pos x="23" y="80"/>
                  </a:cxn>
                  <a:cxn ang="0">
                    <a:pos x="33" y="79"/>
                  </a:cxn>
                  <a:cxn ang="0">
                    <a:pos x="40" y="79"/>
                  </a:cxn>
                  <a:cxn ang="0">
                    <a:pos x="47" y="78"/>
                  </a:cxn>
                  <a:cxn ang="0">
                    <a:pos x="56" y="76"/>
                  </a:cxn>
                  <a:cxn ang="0">
                    <a:pos x="65" y="74"/>
                  </a:cxn>
                  <a:cxn ang="0">
                    <a:pos x="83" y="68"/>
                  </a:cxn>
                  <a:cxn ang="0">
                    <a:pos x="103" y="59"/>
                  </a:cxn>
                  <a:cxn ang="0">
                    <a:pos x="112" y="54"/>
                  </a:cxn>
                  <a:cxn ang="0">
                    <a:pos x="121" y="49"/>
                  </a:cxn>
                  <a:cxn ang="0">
                    <a:pos x="129" y="43"/>
                  </a:cxn>
                  <a:cxn ang="0">
                    <a:pos x="136" y="38"/>
                  </a:cxn>
                  <a:cxn ang="0">
                    <a:pos x="142" y="32"/>
                  </a:cxn>
                  <a:cxn ang="0">
                    <a:pos x="147" y="25"/>
                  </a:cxn>
                  <a:cxn ang="0">
                    <a:pos x="150" y="19"/>
                  </a:cxn>
                  <a:cxn ang="0">
                    <a:pos x="153" y="12"/>
                  </a:cxn>
                  <a:cxn ang="0">
                    <a:pos x="134" y="8"/>
                  </a:cxn>
                  <a:cxn ang="0">
                    <a:pos x="115" y="3"/>
                  </a:cxn>
                  <a:cxn ang="0">
                    <a:pos x="96" y="1"/>
                  </a:cxn>
                  <a:cxn ang="0">
                    <a:pos x="77" y="0"/>
                  </a:cxn>
                  <a:cxn ang="0">
                    <a:pos x="68" y="1"/>
                  </a:cxn>
                  <a:cxn ang="0">
                    <a:pos x="60" y="1"/>
                  </a:cxn>
                  <a:cxn ang="0">
                    <a:pos x="52" y="2"/>
                  </a:cxn>
                  <a:cxn ang="0">
                    <a:pos x="45" y="4"/>
                  </a:cxn>
                  <a:cxn ang="0">
                    <a:pos x="38" y="7"/>
                  </a:cxn>
                  <a:cxn ang="0">
                    <a:pos x="34" y="10"/>
                  </a:cxn>
                  <a:cxn ang="0">
                    <a:pos x="30" y="14"/>
                  </a:cxn>
                  <a:cxn ang="0">
                    <a:pos x="26" y="18"/>
                  </a:cxn>
                  <a:cxn ang="0">
                    <a:pos x="32" y="23"/>
                  </a:cxn>
                  <a:cxn ang="0">
                    <a:pos x="36" y="29"/>
                  </a:cxn>
                  <a:cxn ang="0">
                    <a:pos x="38" y="32"/>
                  </a:cxn>
                  <a:cxn ang="0">
                    <a:pos x="42" y="34"/>
                  </a:cxn>
                  <a:cxn ang="0">
                    <a:pos x="44" y="36"/>
                  </a:cxn>
                  <a:cxn ang="0">
                    <a:pos x="46" y="36"/>
                  </a:cxn>
                  <a:cxn ang="0">
                    <a:pos x="40" y="41"/>
                  </a:cxn>
                  <a:cxn ang="0">
                    <a:pos x="33" y="46"/>
                  </a:cxn>
                  <a:cxn ang="0">
                    <a:pos x="29" y="52"/>
                  </a:cxn>
                  <a:cxn ang="0">
                    <a:pos x="23" y="57"/>
                  </a:cxn>
                  <a:cxn ang="0">
                    <a:pos x="18" y="64"/>
                  </a:cxn>
                  <a:cxn ang="0">
                    <a:pos x="13" y="69"/>
                  </a:cxn>
                  <a:cxn ang="0">
                    <a:pos x="7" y="75"/>
                  </a:cxn>
                  <a:cxn ang="0">
                    <a:pos x="0" y="79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399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/>
                <a:ahLst/>
                <a:cxnLst>
                  <a:cxn ang="0">
                    <a:pos x="0" y="37"/>
                  </a:cxn>
                  <a:cxn ang="0">
                    <a:pos x="5" y="41"/>
                  </a:cxn>
                  <a:cxn ang="0">
                    <a:pos x="11" y="44"/>
                  </a:cxn>
                  <a:cxn ang="0">
                    <a:pos x="16" y="47"/>
                  </a:cxn>
                  <a:cxn ang="0">
                    <a:pos x="23" y="48"/>
                  </a:cxn>
                  <a:cxn ang="0">
                    <a:pos x="35" y="49"/>
                  </a:cxn>
                  <a:cxn ang="0">
                    <a:pos x="46" y="50"/>
                  </a:cxn>
                  <a:cxn ang="0">
                    <a:pos x="58" y="49"/>
                  </a:cxn>
                  <a:cxn ang="0">
                    <a:pos x="67" y="48"/>
                  </a:cxn>
                  <a:cxn ang="0">
                    <a:pos x="73" y="47"/>
                  </a:cxn>
                  <a:cxn ang="0">
                    <a:pos x="79" y="44"/>
                  </a:cxn>
                  <a:cxn ang="0">
                    <a:pos x="82" y="41"/>
                  </a:cxn>
                  <a:cxn ang="0">
                    <a:pos x="84" y="37"/>
                  </a:cxn>
                  <a:cxn ang="0">
                    <a:pos x="85" y="32"/>
                  </a:cxn>
                  <a:cxn ang="0">
                    <a:pos x="86" y="25"/>
                  </a:cxn>
                  <a:cxn ang="0">
                    <a:pos x="85" y="17"/>
                  </a:cxn>
                  <a:cxn ang="0">
                    <a:pos x="84" y="10"/>
                  </a:cxn>
                  <a:cxn ang="0">
                    <a:pos x="83" y="7"/>
                  </a:cxn>
                  <a:cxn ang="0">
                    <a:pos x="81" y="5"/>
                  </a:cxn>
                  <a:cxn ang="0">
                    <a:pos x="77" y="2"/>
                  </a:cxn>
                  <a:cxn ang="0">
                    <a:pos x="73" y="0"/>
                  </a:cxn>
                  <a:cxn ang="0">
                    <a:pos x="0" y="37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0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/>
                <a:ahLst/>
                <a:cxnLst>
                  <a:cxn ang="0">
                    <a:pos x="119" y="61"/>
                  </a:cxn>
                  <a:cxn ang="0">
                    <a:pos x="109" y="61"/>
                  </a:cxn>
                  <a:cxn ang="0">
                    <a:pos x="99" y="61"/>
                  </a:cxn>
                  <a:cxn ang="0">
                    <a:pos x="90" y="61"/>
                  </a:cxn>
                  <a:cxn ang="0">
                    <a:pos x="80" y="61"/>
                  </a:cxn>
                  <a:cxn ang="0">
                    <a:pos x="60" y="74"/>
                  </a:cxn>
                  <a:cxn ang="0">
                    <a:pos x="33" y="74"/>
                  </a:cxn>
                  <a:cxn ang="0">
                    <a:pos x="36" y="61"/>
                  </a:cxn>
                  <a:cxn ang="0">
                    <a:pos x="39" y="49"/>
                  </a:cxn>
                  <a:cxn ang="0">
                    <a:pos x="30" y="49"/>
                  </a:cxn>
                  <a:cxn ang="0">
                    <a:pos x="23" y="48"/>
                  </a:cxn>
                  <a:cxn ang="0">
                    <a:pos x="15" y="47"/>
                  </a:cxn>
                  <a:cxn ang="0">
                    <a:pos x="9" y="45"/>
                  </a:cxn>
                  <a:cxn ang="0">
                    <a:pos x="5" y="42"/>
                  </a:cxn>
                  <a:cxn ang="0">
                    <a:pos x="2" y="39"/>
                  </a:cxn>
                  <a:cxn ang="0">
                    <a:pos x="1" y="35"/>
                  </a:cxn>
                  <a:cxn ang="0">
                    <a:pos x="0" y="31"/>
                  </a:cxn>
                  <a:cxn ang="0">
                    <a:pos x="1" y="26"/>
                  </a:cxn>
                  <a:cxn ang="0">
                    <a:pos x="2" y="21"/>
                  </a:cxn>
                  <a:cxn ang="0">
                    <a:pos x="5" y="17"/>
                  </a:cxn>
                  <a:cxn ang="0">
                    <a:pos x="8" y="14"/>
                  </a:cxn>
                  <a:cxn ang="0">
                    <a:pos x="13" y="10"/>
                  </a:cxn>
                  <a:cxn ang="0">
                    <a:pos x="18" y="7"/>
                  </a:cxn>
                  <a:cxn ang="0">
                    <a:pos x="24" y="5"/>
                  </a:cxn>
                  <a:cxn ang="0">
                    <a:pos x="29" y="4"/>
                  </a:cxn>
                  <a:cxn ang="0">
                    <a:pos x="42" y="1"/>
                  </a:cxn>
                  <a:cxn ang="0">
                    <a:pos x="56" y="0"/>
                  </a:cxn>
                  <a:cxn ang="0">
                    <a:pos x="69" y="0"/>
                  </a:cxn>
                  <a:cxn ang="0">
                    <a:pos x="80" y="0"/>
                  </a:cxn>
                  <a:cxn ang="0">
                    <a:pos x="94" y="1"/>
                  </a:cxn>
                  <a:cxn ang="0">
                    <a:pos x="106" y="4"/>
                  </a:cxn>
                  <a:cxn ang="0">
                    <a:pos x="117" y="7"/>
                  </a:cxn>
                  <a:cxn ang="0">
                    <a:pos x="128" y="13"/>
                  </a:cxn>
                  <a:cxn ang="0">
                    <a:pos x="139" y="17"/>
                  </a:cxn>
                  <a:cxn ang="0">
                    <a:pos x="150" y="21"/>
                  </a:cxn>
                  <a:cxn ang="0">
                    <a:pos x="161" y="24"/>
                  </a:cxn>
                  <a:cxn ang="0">
                    <a:pos x="172" y="25"/>
                  </a:cxn>
                  <a:cxn ang="0">
                    <a:pos x="172" y="43"/>
                  </a:cxn>
                  <a:cxn ang="0">
                    <a:pos x="169" y="48"/>
                  </a:cxn>
                  <a:cxn ang="0">
                    <a:pos x="165" y="53"/>
                  </a:cxn>
                  <a:cxn ang="0">
                    <a:pos x="161" y="57"/>
                  </a:cxn>
                  <a:cxn ang="0">
                    <a:pos x="158" y="60"/>
                  </a:cxn>
                  <a:cxn ang="0">
                    <a:pos x="153" y="62"/>
                  </a:cxn>
                  <a:cxn ang="0">
                    <a:pos x="149" y="63"/>
                  </a:cxn>
                  <a:cxn ang="0">
                    <a:pos x="146" y="65"/>
                  </a:cxn>
                  <a:cxn ang="0">
                    <a:pos x="141" y="65"/>
                  </a:cxn>
                  <a:cxn ang="0">
                    <a:pos x="131" y="65"/>
                  </a:cxn>
                  <a:cxn ang="0">
                    <a:pos x="121" y="63"/>
                  </a:cxn>
                  <a:cxn ang="0">
                    <a:pos x="112" y="59"/>
                  </a:cxn>
                  <a:cxn ang="0">
                    <a:pos x="99" y="55"/>
                  </a:cxn>
                  <a:cxn ang="0">
                    <a:pos x="106" y="55"/>
                  </a:cxn>
                  <a:cxn ang="0">
                    <a:pos x="119" y="61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1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/>
                <a:ahLst/>
                <a:cxnLst>
                  <a:cxn ang="0">
                    <a:pos x="27" y="49"/>
                  </a:cxn>
                  <a:cxn ang="0">
                    <a:pos x="47" y="49"/>
                  </a:cxn>
                  <a:cxn ang="0">
                    <a:pos x="64" y="48"/>
                  </a:cxn>
                  <a:cxn ang="0">
                    <a:pos x="78" y="46"/>
                  </a:cxn>
                  <a:cxn ang="0">
                    <a:pos x="90" y="43"/>
                  </a:cxn>
                  <a:cxn ang="0">
                    <a:pos x="96" y="39"/>
                  </a:cxn>
                  <a:cxn ang="0">
                    <a:pos x="100" y="37"/>
                  </a:cxn>
                  <a:cxn ang="0">
                    <a:pos x="104" y="34"/>
                  </a:cxn>
                  <a:cxn ang="0">
                    <a:pos x="108" y="31"/>
                  </a:cxn>
                  <a:cxn ang="0">
                    <a:pos x="114" y="22"/>
                  </a:cxn>
                  <a:cxn ang="0">
                    <a:pos x="120" y="12"/>
                  </a:cxn>
                  <a:cxn ang="0">
                    <a:pos x="102" y="6"/>
                  </a:cxn>
                  <a:cxn ang="0">
                    <a:pos x="84" y="3"/>
                  </a:cxn>
                  <a:cxn ang="0">
                    <a:pos x="66" y="1"/>
                  </a:cxn>
                  <a:cxn ang="0">
                    <a:pos x="50" y="0"/>
                  </a:cxn>
                  <a:cxn ang="0">
                    <a:pos x="34" y="1"/>
                  </a:cxn>
                  <a:cxn ang="0">
                    <a:pos x="20" y="2"/>
                  </a:cxn>
                  <a:cxn ang="0">
                    <a:pos x="9" y="4"/>
                  </a:cxn>
                  <a:cxn ang="0">
                    <a:pos x="0" y="6"/>
                  </a:cxn>
                  <a:cxn ang="0">
                    <a:pos x="0" y="30"/>
                  </a:cxn>
                  <a:cxn ang="0">
                    <a:pos x="2" y="35"/>
                  </a:cxn>
                  <a:cxn ang="0">
                    <a:pos x="6" y="38"/>
                  </a:cxn>
                  <a:cxn ang="0">
                    <a:pos x="9" y="41"/>
                  </a:cxn>
                  <a:cxn ang="0">
                    <a:pos x="13" y="45"/>
                  </a:cxn>
                  <a:cxn ang="0">
                    <a:pos x="20" y="48"/>
                  </a:cxn>
                  <a:cxn ang="0">
                    <a:pos x="27" y="49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2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/>
                <a:ahLst/>
                <a:cxnLst>
                  <a:cxn ang="0">
                    <a:pos x="33" y="0"/>
                  </a:cxn>
                  <a:cxn ang="0">
                    <a:pos x="22" y="5"/>
                  </a:cxn>
                  <a:cxn ang="0">
                    <a:pos x="11" y="12"/>
                  </a:cxn>
                  <a:cxn ang="0">
                    <a:pos x="6" y="17"/>
                  </a:cxn>
                  <a:cxn ang="0">
                    <a:pos x="3" y="21"/>
                  </a:cxn>
                  <a:cxn ang="0">
                    <a:pos x="0" y="25"/>
                  </a:cxn>
                  <a:cxn ang="0">
                    <a:pos x="0" y="31"/>
                  </a:cxn>
                  <a:cxn ang="0">
                    <a:pos x="0" y="34"/>
                  </a:cxn>
                  <a:cxn ang="0">
                    <a:pos x="1" y="37"/>
                  </a:cxn>
                  <a:cxn ang="0">
                    <a:pos x="2" y="40"/>
                  </a:cxn>
                  <a:cxn ang="0">
                    <a:pos x="5" y="43"/>
                  </a:cxn>
                  <a:cxn ang="0">
                    <a:pos x="11" y="48"/>
                  </a:cxn>
                  <a:cxn ang="0">
                    <a:pos x="18" y="53"/>
                  </a:cxn>
                  <a:cxn ang="0">
                    <a:pos x="27" y="56"/>
                  </a:cxn>
                  <a:cxn ang="0">
                    <a:pos x="36" y="59"/>
                  </a:cxn>
                  <a:cxn ang="0">
                    <a:pos x="45" y="61"/>
                  </a:cxn>
                  <a:cxn ang="0">
                    <a:pos x="53" y="61"/>
                  </a:cxn>
                  <a:cxn ang="0">
                    <a:pos x="56" y="61"/>
                  </a:cxn>
                  <a:cxn ang="0">
                    <a:pos x="59" y="60"/>
                  </a:cxn>
                  <a:cxn ang="0">
                    <a:pos x="62" y="59"/>
                  </a:cxn>
                  <a:cxn ang="0">
                    <a:pos x="66" y="57"/>
                  </a:cxn>
                  <a:cxn ang="0">
                    <a:pos x="72" y="52"/>
                  </a:cxn>
                  <a:cxn ang="0">
                    <a:pos x="77" y="47"/>
                  </a:cxn>
                  <a:cxn ang="0">
                    <a:pos x="80" y="40"/>
                  </a:cxn>
                  <a:cxn ang="0">
                    <a:pos x="83" y="33"/>
                  </a:cxn>
                  <a:cxn ang="0">
                    <a:pos x="85" y="25"/>
                  </a:cxn>
                  <a:cxn ang="0">
                    <a:pos x="85" y="18"/>
                  </a:cxn>
                  <a:cxn ang="0">
                    <a:pos x="33" y="0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3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11"/>
                  </a:cxn>
                  <a:cxn ang="0">
                    <a:pos x="13" y="15"/>
                  </a:cxn>
                  <a:cxn ang="0">
                    <a:pos x="21" y="18"/>
                  </a:cxn>
                  <a:cxn ang="0">
                    <a:pos x="27" y="19"/>
                  </a:cxn>
                  <a:cxn ang="0">
                    <a:pos x="100" y="6"/>
                  </a:cxn>
                  <a:cxn ang="0">
                    <a:pos x="73" y="2"/>
                  </a:cxn>
                  <a:cxn ang="0">
                    <a:pos x="47" y="0"/>
                  </a:cxn>
                  <a:cxn ang="0">
                    <a:pos x="36" y="0"/>
                  </a:cxn>
                  <a:cxn ang="0">
                    <a:pos x="24" y="1"/>
                  </a:cxn>
                  <a:cxn ang="0">
                    <a:pos x="12" y="3"/>
                  </a:cxn>
                  <a:cxn ang="0">
                    <a:pos x="0" y="6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4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29"/>
                  </a:cxn>
                  <a:cxn ang="0">
                    <a:pos x="3" y="31"/>
                  </a:cxn>
                  <a:cxn ang="0">
                    <a:pos x="8" y="33"/>
                  </a:cxn>
                  <a:cxn ang="0">
                    <a:pos x="13" y="35"/>
                  </a:cxn>
                  <a:cxn ang="0">
                    <a:pos x="27" y="38"/>
                  </a:cxn>
                  <a:cxn ang="0">
                    <a:pos x="44" y="41"/>
                  </a:cxn>
                  <a:cxn ang="0">
                    <a:pos x="75" y="44"/>
                  </a:cxn>
                  <a:cxn ang="0">
                    <a:pos x="92" y="45"/>
                  </a:cxn>
                  <a:cxn ang="0">
                    <a:pos x="166" y="27"/>
                  </a:cxn>
                  <a:cxn ang="0">
                    <a:pos x="157" y="25"/>
                  </a:cxn>
                  <a:cxn ang="0">
                    <a:pos x="137" y="19"/>
                  </a:cxn>
                  <a:cxn ang="0">
                    <a:pos x="110" y="11"/>
                  </a:cxn>
                  <a:cxn ang="0">
                    <a:pos x="80" y="4"/>
                  </a:cxn>
                  <a:cxn ang="0">
                    <a:pos x="65" y="2"/>
                  </a:cxn>
                  <a:cxn ang="0">
                    <a:pos x="50" y="1"/>
                  </a:cxn>
                  <a:cxn ang="0">
                    <a:pos x="36" y="0"/>
                  </a:cxn>
                  <a:cxn ang="0">
                    <a:pos x="24" y="2"/>
                  </a:cxn>
                  <a:cxn ang="0">
                    <a:pos x="19" y="3"/>
                  </a:cxn>
                  <a:cxn ang="0">
                    <a:pos x="14" y="5"/>
                  </a:cxn>
                  <a:cxn ang="0">
                    <a:pos x="10" y="7"/>
                  </a:cxn>
                  <a:cxn ang="0">
                    <a:pos x="7" y="10"/>
                  </a:cxn>
                  <a:cxn ang="0">
                    <a:pos x="3" y="13"/>
                  </a:cxn>
                  <a:cxn ang="0">
                    <a:pos x="1" y="17"/>
                  </a:cxn>
                  <a:cxn ang="0">
                    <a:pos x="0" y="22"/>
                  </a:cxn>
                  <a:cxn ang="0">
                    <a:pos x="0" y="27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5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9"/>
                  </a:cxn>
                  <a:cxn ang="0">
                    <a:pos x="3" y="15"/>
                  </a:cxn>
                  <a:cxn ang="0">
                    <a:pos x="6" y="20"/>
                  </a:cxn>
                  <a:cxn ang="0">
                    <a:pos x="11" y="22"/>
                  </a:cxn>
                  <a:cxn ang="0">
                    <a:pos x="16" y="24"/>
                  </a:cxn>
                  <a:cxn ang="0">
                    <a:pos x="22" y="25"/>
                  </a:cxn>
                  <a:cxn ang="0">
                    <a:pos x="27" y="25"/>
                  </a:cxn>
                  <a:cxn ang="0">
                    <a:pos x="33" y="25"/>
                  </a:cxn>
                  <a:cxn ang="0">
                    <a:pos x="33" y="0"/>
                  </a:cxn>
                  <a:cxn ang="0">
                    <a:pos x="24" y="0"/>
                  </a:cxn>
                  <a:cxn ang="0">
                    <a:pos x="16" y="0"/>
                  </a:cxn>
                  <a:cxn ang="0">
                    <a:pos x="9" y="0"/>
                  </a:cxn>
                  <a:cxn ang="0">
                    <a:pos x="0" y="0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6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12" y="56"/>
                  </a:cxn>
                  <a:cxn ang="0">
                    <a:pos x="22" y="50"/>
                  </a:cxn>
                  <a:cxn ang="0">
                    <a:pos x="30" y="43"/>
                  </a:cxn>
                  <a:cxn ang="0">
                    <a:pos x="37" y="36"/>
                  </a:cxn>
                  <a:cxn ang="0">
                    <a:pos x="41" y="28"/>
                  </a:cxn>
                  <a:cxn ang="0">
                    <a:pos x="44" y="19"/>
                  </a:cxn>
                  <a:cxn ang="0">
                    <a:pos x="47" y="9"/>
                  </a:cxn>
                  <a:cxn ang="0">
                    <a:pos x="48" y="0"/>
                  </a:cxn>
                  <a:cxn ang="0">
                    <a:pos x="40" y="3"/>
                  </a:cxn>
                  <a:cxn ang="0">
                    <a:pos x="32" y="6"/>
                  </a:cxn>
                  <a:cxn ang="0">
                    <a:pos x="23" y="10"/>
                  </a:cxn>
                  <a:cxn ang="0">
                    <a:pos x="17" y="15"/>
                  </a:cxn>
                  <a:cxn ang="0">
                    <a:pos x="10" y="21"/>
                  </a:cxn>
                  <a:cxn ang="0">
                    <a:pos x="6" y="27"/>
                  </a:cxn>
                  <a:cxn ang="0">
                    <a:pos x="4" y="31"/>
                  </a:cxn>
                  <a:cxn ang="0">
                    <a:pos x="3" y="35"/>
                  </a:cxn>
                  <a:cxn ang="0">
                    <a:pos x="1" y="39"/>
                  </a:cxn>
                  <a:cxn ang="0">
                    <a:pos x="0" y="43"/>
                  </a:cxn>
                  <a:cxn ang="0">
                    <a:pos x="0" y="52"/>
                  </a:cxn>
                  <a:cxn ang="0">
                    <a:pos x="0" y="62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7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36" y="7"/>
                  </a:cxn>
                  <a:cxn ang="0">
                    <a:pos x="23" y="17"/>
                  </a:cxn>
                  <a:cxn ang="0">
                    <a:pos x="11" y="27"/>
                  </a:cxn>
                  <a:cxn ang="0">
                    <a:pos x="0" y="37"/>
                  </a:cxn>
                  <a:cxn ang="0">
                    <a:pos x="22" y="46"/>
                  </a:cxn>
                  <a:cxn ang="0">
                    <a:pos x="41" y="54"/>
                  </a:cxn>
                  <a:cxn ang="0">
                    <a:pos x="51" y="57"/>
                  </a:cxn>
                  <a:cxn ang="0">
                    <a:pos x="62" y="59"/>
                  </a:cxn>
                  <a:cxn ang="0">
                    <a:pos x="73" y="61"/>
                  </a:cxn>
                  <a:cxn ang="0">
                    <a:pos x="87" y="62"/>
                  </a:cxn>
                  <a:cxn ang="0">
                    <a:pos x="97" y="61"/>
                  </a:cxn>
                  <a:cxn ang="0">
                    <a:pos x="106" y="58"/>
                  </a:cxn>
                  <a:cxn ang="0">
                    <a:pos x="109" y="56"/>
                  </a:cxn>
                  <a:cxn ang="0">
                    <a:pos x="111" y="54"/>
                  </a:cxn>
                  <a:cxn ang="0">
                    <a:pos x="113" y="52"/>
                  </a:cxn>
                  <a:cxn ang="0">
                    <a:pos x="113" y="49"/>
                  </a:cxn>
                  <a:cxn ang="0">
                    <a:pos x="91" y="41"/>
                  </a:cxn>
                  <a:cxn ang="0">
                    <a:pos x="70" y="32"/>
                  </a:cxn>
                  <a:cxn ang="0">
                    <a:pos x="65" y="29"/>
                  </a:cxn>
                  <a:cxn ang="0">
                    <a:pos x="61" y="26"/>
                  </a:cxn>
                  <a:cxn ang="0">
                    <a:pos x="57" y="23"/>
                  </a:cxn>
                  <a:cxn ang="0">
                    <a:pos x="54" y="20"/>
                  </a:cxn>
                  <a:cxn ang="0">
                    <a:pos x="51" y="16"/>
                  </a:cxn>
                  <a:cxn ang="0">
                    <a:pos x="48" y="10"/>
                  </a:cxn>
                  <a:cxn ang="0">
                    <a:pos x="47" y="5"/>
                  </a:cxn>
                  <a:cxn ang="0">
                    <a:pos x="47" y="0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8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0"/>
                  </a:cxn>
                  <a:cxn ang="0">
                    <a:pos x="30" y="1"/>
                  </a:cxn>
                  <a:cxn ang="0">
                    <a:pos x="45" y="2"/>
                  </a:cxn>
                  <a:cxn ang="0">
                    <a:pos x="59" y="5"/>
                  </a:cxn>
                  <a:cxn ang="0">
                    <a:pos x="64" y="7"/>
                  </a:cxn>
                  <a:cxn ang="0">
                    <a:pos x="71" y="9"/>
                  </a:cxn>
                  <a:cxn ang="0">
                    <a:pos x="75" y="12"/>
                  </a:cxn>
                  <a:cxn ang="0">
                    <a:pos x="81" y="16"/>
                  </a:cxn>
                  <a:cxn ang="0">
                    <a:pos x="85" y="20"/>
                  </a:cxn>
                  <a:cxn ang="0">
                    <a:pos x="89" y="25"/>
                  </a:cxn>
                  <a:cxn ang="0">
                    <a:pos x="91" y="30"/>
                  </a:cxn>
                  <a:cxn ang="0">
                    <a:pos x="93" y="37"/>
                  </a:cxn>
                  <a:cxn ang="0">
                    <a:pos x="79" y="37"/>
                  </a:cxn>
                  <a:cxn ang="0">
                    <a:pos x="68" y="39"/>
                  </a:cxn>
                  <a:cxn ang="0">
                    <a:pos x="60" y="41"/>
                  </a:cxn>
                  <a:cxn ang="0">
                    <a:pos x="52" y="43"/>
                  </a:cxn>
                  <a:cxn ang="0">
                    <a:pos x="42" y="47"/>
                  </a:cxn>
                  <a:cxn ang="0">
                    <a:pos x="33" y="50"/>
                  </a:cxn>
                  <a:cxn ang="0">
                    <a:pos x="30" y="50"/>
                  </a:cxn>
                  <a:cxn ang="0">
                    <a:pos x="28" y="48"/>
                  </a:cxn>
                  <a:cxn ang="0">
                    <a:pos x="26" y="47"/>
                  </a:cxn>
                  <a:cxn ang="0">
                    <a:pos x="25" y="45"/>
                  </a:cxn>
                  <a:cxn ang="0">
                    <a:pos x="23" y="41"/>
                  </a:cxn>
                  <a:cxn ang="0">
                    <a:pos x="22" y="36"/>
                  </a:cxn>
                  <a:cxn ang="0">
                    <a:pos x="22" y="31"/>
                  </a:cxn>
                  <a:cxn ang="0">
                    <a:pos x="23" y="26"/>
                  </a:cxn>
                  <a:cxn ang="0">
                    <a:pos x="24" y="22"/>
                  </a:cxn>
                  <a:cxn ang="0">
                    <a:pos x="26" y="19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09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/>
                <a:ahLst/>
                <a:cxnLst>
                  <a:cxn ang="0">
                    <a:pos x="20" y="112"/>
                  </a:cxn>
                  <a:cxn ang="0">
                    <a:pos x="67" y="60"/>
                  </a:cxn>
                  <a:cxn ang="0">
                    <a:pos x="266" y="0"/>
                  </a:cxn>
                  <a:cxn ang="0">
                    <a:pos x="205" y="47"/>
                  </a:cxn>
                  <a:cxn ang="0">
                    <a:pos x="180" y="105"/>
                  </a:cxn>
                  <a:cxn ang="0">
                    <a:pos x="274" y="60"/>
                  </a:cxn>
                  <a:cxn ang="0">
                    <a:pos x="397" y="14"/>
                  </a:cxn>
                  <a:cxn ang="0">
                    <a:pos x="438" y="23"/>
                  </a:cxn>
                  <a:cxn ang="0">
                    <a:pos x="433" y="71"/>
                  </a:cxn>
                  <a:cxn ang="0">
                    <a:pos x="581" y="80"/>
                  </a:cxn>
                  <a:cxn ang="0">
                    <a:pos x="675" y="89"/>
                  </a:cxn>
                  <a:cxn ang="0">
                    <a:pos x="749" y="111"/>
                  </a:cxn>
                  <a:cxn ang="0">
                    <a:pos x="749" y="134"/>
                  </a:cxn>
                  <a:cxn ang="0">
                    <a:pos x="711" y="184"/>
                  </a:cxn>
                  <a:cxn ang="0">
                    <a:pos x="799" y="168"/>
                  </a:cxn>
                  <a:cxn ang="0">
                    <a:pos x="866" y="191"/>
                  </a:cxn>
                  <a:cxn ang="0">
                    <a:pos x="856" y="239"/>
                  </a:cxn>
                  <a:cxn ang="0">
                    <a:pos x="788" y="248"/>
                  </a:cxn>
                  <a:cxn ang="0">
                    <a:pos x="859" y="284"/>
                  </a:cxn>
                  <a:cxn ang="0">
                    <a:pos x="903" y="327"/>
                  </a:cxn>
                  <a:cxn ang="0">
                    <a:pos x="977" y="329"/>
                  </a:cxn>
                  <a:cxn ang="0">
                    <a:pos x="1029" y="351"/>
                  </a:cxn>
                  <a:cxn ang="0">
                    <a:pos x="939" y="409"/>
                  </a:cxn>
                  <a:cxn ang="0">
                    <a:pos x="899" y="417"/>
                  </a:cxn>
                  <a:cxn ang="0">
                    <a:pos x="874" y="443"/>
                  </a:cxn>
                  <a:cxn ang="0">
                    <a:pos x="830" y="414"/>
                  </a:cxn>
                  <a:cxn ang="0">
                    <a:pos x="851" y="393"/>
                  </a:cxn>
                  <a:cxn ang="0">
                    <a:pos x="792" y="379"/>
                  </a:cxn>
                  <a:cxn ang="0">
                    <a:pos x="759" y="364"/>
                  </a:cxn>
                  <a:cxn ang="0">
                    <a:pos x="744" y="394"/>
                  </a:cxn>
                  <a:cxn ang="0">
                    <a:pos x="747" y="445"/>
                  </a:cxn>
                  <a:cxn ang="0">
                    <a:pos x="795" y="523"/>
                  </a:cxn>
                  <a:cxn ang="0">
                    <a:pos x="771" y="547"/>
                  </a:cxn>
                  <a:cxn ang="0">
                    <a:pos x="708" y="556"/>
                  </a:cxn>
                  <a:cxn ang="0">
                    <a:pos x="618" y="517"/>
                  </a:cxn>
                  <a:cxn ang="0">
                    <a:pos x="668" y="567"/>
                  </a:cxn>
                  <a:cxn ang="0">
                    <a:pos x="665" y="604"/>
                  </a:cxn>
                  <a:cxn ang="0">
                    <a:pos x="518" y="570"/>
                  </a:cxn>
                  <a:cxn ang="0">
                    <a:pos x="471" y="523"/>
                  </a:cxn>
                  <a:cxn ang="0">
                    <a:pos x="410" y="473"/>
                  </a:cxn>
                  <a:cxn ang="0">
                    <a:pos x="367" y="453"/>
                  </a:cxn>
                  <a:cxn ang="0">
                    <a:pos x="392" y="433"/>
                  </a:cxn>
                  <a:cxn ang="0">
                    <a:pos x="459" y="399"/>
                  </a:cxn>
                  <a:cxn ang="0">
                    <a:pos x="500" y="378"/>
                  </a:cxn>
                  <a:cxn ang="0">
                    <a:pos x="577" y="380"/>
                  </a:cxn>
                  <a:cxn ang="0">
                    <a:pos x="614" y="395"/>
                  </a:cxn>
                  <a:cxn ang="0">
                    <a:pos x="687" y="387"/>
                  </a:cxn>
                  <a:cxn ang="0">
                    <a:pos x="581" y="355"/>
                  </a:cxn>
                  <a:cxn ang="0">
                    <a:pos x="542" y="361"/>
                  </a:cxn>
                  <a:cxn ang="0">
                    <a:pos x="539" y="350"/>
                  </a:cxn>
                  <a:cxn ang="0">
                    <a:pos x="576" y="306"/>
                  </a:cxn>
                  <a:cxn ang="0">
                    <a:pos x="576" y="274"/>
                  </a:cxn>
                  <a:cxn ang="0">
                    <a:pos x="524" y="254"/>
                  </a:cxn>
                  <a:cxn ang="0">
                    <a:pos x="473" y="198"/>
                  </a:cxn>
                  <a:cxn ang="0">
                    <a:pos x="434" y="168"/>
                  </a:cxn>
                  <a:cxn ang="0">
                    <a:pos x="408" y="163"/>
                  </a:cxn>
                  <a:cxn ang="0">
                    <a:pos x="378" y="203"/>
                  </a:cxn>
                  <a:cxn ang="0">
                    <a:pos x="207" y="174"/>
                  </a:cxn>
                  <a:cxn ang="0">
                    <a:pos x="114" y="189"/>
                  </a:cxn>
                  <a:cxn ang="0">
                    <a:pos x="79" y="187"/>
                  </a:cxn>
                  <a:cxn ang="0">
                    <a:pos x="16" y="180"/>
                  </a:cxn>
                  <a:cxn ang="0">
                    <a:pos x="9" y="158"/>
                  </a:cxn>
                  <a:cxn ang="0">
                    <a:pos x="75" y="149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0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/>
                <a:ahLst/>
                <a:cxnLst>
                  <a:cxn ang="0">
                    <a:pos x="797" y="38"/>
                  </a:cxn>
                  <a:cxn ang="0">
                    <a:pos x="813" y="16"/>
                  </a:cxn>
                  <a:cxn ang="0">
                    <a:pos x="846" y="10"/>
                  </a:cxn>
                  <a:cxn ang="0">
                    <a:pos x="865" y="25"/>
                  </a:cxn>
                  <a:cxn ang="0">
                    <a:pos x="938" y="14"/>
                  </a:cxn>
                  <a:cxn ang="0">
                    <a:pos x="1020" y="1"/>
                  </a:cxn>
                  <a:cxn ang="0">
                    <a:pos x="1084" y="17"/>
                  </a:cxn>
                  <a:cxn ang="0">
                    <a:pos x="1133" y="20"/>
                  </a:cxn>
                  <a:cxn ang="0">
                    <a:pos x="1268" y="32"/>
                  </a:cxn>
                  <a:cxn ang="0">
                    <a:pos x="1242" y="50"/>
                  </a:cxn>
                  <a:cxn ang="0">
                    <a:pos x="1163" y="64"/>
                  </a:cxn>
                  <a:cxn ang="0">
                    <a:pos x="1053" y="77"/>
                  </a:cxn>
                  <a:cxn ang="0">
                    <a:pos x="1029" y="96"/>
                  </a:cxn>
                  <a:cxn ang="0">
                    <a:pos x="999" y="104"/>
                  </a:cxn>
                  <a:cxn ang="0">
                    <a:pos x="942" y="102"/>
                  </a:cxn>
                  <a:cxn ang="0">
                    <a:pos x="930" y="118"/>
                  </a:cxn>
                  <a:cxn ang="0">
                    <a:pos x="747" y="133"/>
                  </a:cxn>
                  <a:cxn ang="0">
                    <a:pos x="666" y="156"/>
                  </a:cxn>
                  <a:cxn ang="0">
                    <a:pos x="635" y="181"/>
                  </a:cxn>
                  <a:cxn ang="0">
                    <a:pos x="591" y="167"/>
                  </a:cxn>
                  <a:cxn ang="0">
                    <a:pos x="570" y="181"/>
                  </a:cxn>
                  <a:cxn ang="0">
                    <a:pos x="590" y="207"/>
                  </a:cxn>
                  <a:cxn ang="0">
                    <a:pos x="545" y="237"/>
                  </a:cxn>
                  <a:cxn ang="0">
                    <a:pos x="483" y="236"/>
                  </a:cxn>
                  <a:cxn ang="0">
                    <a:pos x="404" y="242"/>
                  </a:cxn>
                  <a:cxn ang="0">
                    <a:pos x="405" y="257"/>
                  </a:cxn>
                  <a:cxn ang="0">
                    <a:pos x="392" y="293"/>
                  </a:cxn>
                  <a:cxn ang="0">
                    <a:pos x="333" y="320"/>
                  </a:cxn>
                  <a:cxn ang="0">
                    <a:pos x="290" y="296"/>
                  </a:cxn>
                  <a:cxn ang="0">
                    <a:pos x="253" y="285"/>
                  </a:cxn>
                  <a:cxn ang="0">
                    <a:pos x="96" y="276"/>
                  </a:cxn>
                  <a:cxn ang="0">
                    <a:pos x="0" y="285"/>
                  </a:cxn>
                  <a:cxn ang="0">
                    <a:pos x="10" y="266"/>
                  </a:cxn>
                  <a:cxn ang="0">
                    <a:pos x="56" y="246"/>
                  </a:cxn>
                  <a:cxn ang="0">
                    <a:pos x="143" y="235"/>
                  </a:cxn>
                  <a:cxn ang="0">
                    <a:pos x="170" y="225"/>
                  </a:cxn>
                  <a:cxn ang="0">
                    <a:pos x="190" y="217"/>
                  </a:cxn>
                  <a:cxn ang="0">
                    <a:pos x="219" y="232"/>
                  </a:cxn>
                  <a:cxn ang="0">
                    <a:pos x="247" y="247"/>
                  </a:cxn>
                  <a:cxn ang="0">
                    <a:pos x="208" y="207"/>
                  </a:cxn>
                  <a:cxn ang="0">
                    <a:pos x="193" y="200"/>
                  </a:cxn>
                  <a:cxn ang="0">
                    <a:pos x="197" y="181"/>
                  </a:cxn>
                  <a:cxn ang="0">
                    <a:pos x="246" y="174"/>
                  </a:cxn>
                  <a:cxn ang="0">
                    <a:pos x="365" y="186"/>
                  </a:cxn>
                  <a:cxn ang="0">
                    <a:pos x="418" y="174"/>
                  </a:cxn>
                  <a:cxn ang="0">
                    <a:pos x="322" y="169"/>
                  </a:cxn>
                  <a:cxn ang="0">
                    <a:pos x="299" y="149"/>
                  </a:cxn>
                  <a:cxn ang="0">
                    <a:pos x="378" y="137"/>
                  </a:cxn>
                  <a:cxn ang="0">
                    <a:pos x="438" y="155"/>
                  </a:cxn>
                  <a:cxn ang="0">
                    <a:pos x="478" y="124"/>
                  </a:cxn>
                  <a:cxn ang="0">
                    <a:pos x="664" y="87"/>
                  </a:cxn>
                  <a:cxn ang="0">
                    <a:pos x="589" y="110"/>
                  </a:cxn>
                  <a:cxn ang="0">
                    <a:pos x="449" y="111"/>
                  </a:cxn>
                  <a:cxn ang="0">
                    <a:pos x="312" y="116"/>
                  </a:cxn>
                  <a:cxn ang="0">
                    <a:pos x="253" y="101"/>
                  </a:cxn>
                  <a:cxn ang="0">
                    <a:pos x="219" y="80"/>
                  </a:cxn>
                  <a:cxn ang="0">
                    <a:pos x="253" y="71"/>
                  </a:cxn>
                  <a:cxn ang="0">
                    <a:pos x="446" y="47"/>
                  </a:cxn>
                  <a:cxn ang="0">
                    <a:pos x="618" y="32"/>
                  </a:cxn>
                  <a:cxn ang="0">
                    <a:pos x="674" y="20"/>
                  </a:cxn>
                  <a:cxn ang="0">
                    <a:pos x="757" y="26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1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0"/>
                  </a:cxn>
                  <a:cxn ang="0">
                    <a:pos x="4" y="19"/>
                  </a:cxn>
                  <a:cxn ang="0">
                    <a:pos x="9" y="29"/>
                  </a:cxn>
                  <a:cxn ang="0">
                    <a:pos x="15" y="39"/>
                  </a:cxn>
                  <a:cxn ang="0">
                    <a:pos x="22" y="48"/>
                  </a:cxn>
                  <a:cxn ang="0">
                    <a:pos x="31" y="59"/>
                  </a:cxn>
                  <a:cxn ang="0">
                    <a:pos x="41" y="68"/>
                  </a:cxn>
                  <a:cxn ang="0">
                    <a:pos x="51" y="77"/>
                  </a:cxn>
                  <a:cxn ang="0">
                    <a:pos x="62" y="85"/>
                  </a:cxn>
                  <a:cxn ang="0">
                    <a:pos x="73" y="93"/>
                  </a:cxn>
                  <a:cxn ang="0">
                    <a:pos x="84" y="99"/>
                  </a:cxn>
                  <a:cxn ang="0">
                    <a:pos x="95" y="105"/>
                  </a:cxn>
                  <a:cxn ang="0">
                    <a:pos x="106" y="111"/>
                  </a:cxn>
                  <a:cxn ang="0">
                    <a:pos x="116" y="114"/>
                  </a:cxn>
                  <a:cxn ang="0">
                    <a:pos x="124" y="117"/>
                  </a:cxn>
                  <a:cxn ang="0">
                    <a:pos x="133" y="117"/>
                  </a:cxn>
                  <a:cxn ang="0">
                    <a:pos x="139" y="116"/>
                  </a:cxn>
                  <a:cxn ang="0">
                    <a:pos x="146" y="113"/>
                  </a:cxn>
                  <a:cxn ang="0">
                    <a:pos x="153" y="110"/>
                  </a:cxn>
                  <a:cxn ang="0">
                    <a:pos x="160" y="104"/>
                  </a:cxn>
                  <a:cxn ang="0">
                    <a:pos x="150" y="91"/>
                  </a:cxn>
                  <a:cxn ang="0">
                    <a:pos x="141" y="79"/>
                  </a:cxn>
                  <a:cxn ang="0">
                    <a:pos x="138" y="73"/>
                  </a:cxn>
                  <a:cxn ang="0">
                    <a:pos x="135" y="66"/>
                  </a:cxn>
                  <a:cxn ang="0">
                    <a:pos x="133" y="58"/>
                  </a:cxn>
                  <a:cxn ang="0">
                    <a:pos x="133" y="49"/>
                  </a:cxn>
                  <a:cxn ang="0">
                    <a:pos x="127" y="48"/>
                  </a:cxn>
                  <a:cxn ang="0">
                    <a:pos x="118" y="45"/>
                  </a:cxn>
                  <a:cxn ang="0">
                    <a:pos x="108" y="40"/>
                  </a:cxn>
                  <a:cxn ang="0">
                    <a:pos x="97" y="34"/>
                  </a:cxn>
                  <a:cxn ang="0">
                    <a:pos x="87" y="28"/>
                  </a:cxn>
                  <a:cxn ang="0">
                    <a:pos x="77" y="21"/>
                  </a:cxn>
                  <a:cxn ang="0">
                    <a:pos x="74" y="17"/>
                  </a:cxn>
                  <a:cxn ang="0">
                    <a:pos x="71" y="13"/>
                  </a:cxn>
                  <a:cxn ang="0">
                    <a:pos x="68" y="10"/>
                  </a:cxn>
                  <a:cxn ang="0">
                    <a:pos x="66" y="6"/>
                  </a:cxn>
                  <a:cxn ang="0">
                    <a:pos x="60" y="6"/>
                  </a:cxn>
                  <a:cxn ang="0">
                    <a:pos x="52" y="6"/>
                  </a:cxn>
                  <a:cxn ang="0">
                    <a:pos x="43" y="4"/>
                  </a:cxn>
                  <a:cxn ang="0">
                    <a:pos x="33" y="0"/>
                  </a:cxn>
                  <a:cxn ang="0">
                    <a:pos x="0" y="0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2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/>
                <a:ahLst/>
                <a:cxnLst>
                  <a:cxn ang="0">
                    <a:pos x="40" y="123"/>
                  </a:cxn>
                  <a:cxn ang="0">
                    <a:pos x="80" y="36"/>
                  </a:cxn>
                  <a:cxn ang="0">
                    <a:pos x="80" y="18"/>
                  </a:cxn>
                  <a:cxn ang="0">
                    <a:pos x="68" y="17"/>
                  </a:cxn>
                  <a:cxn ang="0">
                    <a:pos x="59" y="16"/>
                  </a:cxn>
                  <a:cxn ang="0">
                    <a:pos x="53" y="14"/>
                  </a:cxn>
                  <a:cxn ang="0">
                    <a:pos x="47" y="11"/>
                  </a:cxn>
                  <a:cxn ang="0">
                    <a:pos x="44" y="8"/>
                  </a:cxn>
                  <a:cxn ang="0">
                    <a:pos x="42" y="5"/>
                  </a:cxn>
                  <a:cxn ang="0">
                    <a:pos x="41" y="2"/>
                  </a:cxn>
                  <a:cxn ang="0">
                    <a:pos x="40" y="0"/>
                  </a:cxn>
                  <a:cxn ang="0">
                    <a:pos x="0" y="0"/>
                  </a:cxn>
                  <a:cxn ang="0">
                    <a:pos x="0" y="23"/>
                  </a:cxn>
                  <a:cxn ang="0">
                    <a:pos x="0" y="40"/>
                  </a:cxn>
                  <a:cxn ang="0">
                    <a:pos x="0" y="52"/>
                  </a:cxn>
                  <a:cxn ang="0">
                    <a:pos x="0" y="61"/>
                  </a:cxn>
                  <a:cxn ang="0">
                    <a:pos x="1" y="69"/>
                  </a:cxn>
                  <a:cxn ang="0">
                    <a:pos x="3" y="78"/>
                  </a:cxn>
                  <a:cxn ang="0">
                    <a:pos x="7" y="88"/>
                  </a:cxn>
                  <a:cxn ang="0">
                    <a:pos x="11" y="99"/>
                  </a:cxn>
                  <a:cxn ang="0">
                    <a:pos x="20" y="121"/>
                  </a:cxn>
                  <a:cxn ang="0">
                    <a:pos x="27" y="141"/>
                  </a:cxn>
                  <a:cxn ang="0">
                    <a:pos x="31" y="135"/>
                  </a:cxn>
                  <a:cxn ang="0">
                    <a:pos x="33" y="129"/>
                  </a:cxn>
                  <a:cxn ang="0">
                    <a:pos x="34" y="127"/>
                  </a:cxn>
                  <a:cxn ang="0">
                    <a:pos x="36" y="125"/>
                  </a:cxn>
                  <a:cxn ang="0">
                    <a:pos x="38" y="123"/>
                  </a:cxn>
                  <a:cxn ang="0">
                    <a:pos x="40" y="123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3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/>
                <a:ahLst/>
                <a:cxnLst>
                  <a:cxn ang="0">
                    <a:pos x="0" y="93"/>
                  </a:cxn>
                  <a:cxn ang="0">
                    <a:pos x="0" y="96"/>
                  </a:cxn>
                  <a:cxn ang="0">
                    <a:pos x="2" y="100"/>
                  </a:cxn>
                  <a:cxn ang="0">
                    <a:pos x="4" y="103"/>
                  </a:cxn>
                  <a:cxn ang="0">
                    <a:pos x="6" y="106"/>
                  </a:cxn>
                  <a:cxn ang="0">
                    <a:pos x="14" y="111"/>
                  </a:cxn>
                  <a:cxn ang="0">
                    <a:pos x="23" y="115"/>
                  </a:cxn>
                  <a:cxn ang="0">
                    <a:pos x="31" y="120"/>
                  </a:cxn>
                  <a:cxn ang="0">
                    <a:pos x="41" y="122"/>
                  </a:cxn>
                  <a:cxn ang="0">
                    <a:pos x="51" y="124"/>
                  </a:cxn>
                  <a:cxn ang="0">
                    <a:pos x="60" y="124"/>
                  </a:cxn>
                  <a:cxn ang="0">
                    <a:pos x="68" y="124"/>
                  </a:cxn>
                  <a:cxn ang="0">
                    <a:pos x="75" y="123"/>
                  </a:cxn>
                  <a:cxn ang="0">
                    <a:pos x="81" y="122"/>
                  </a:cxn>
                  <a:cxn ang="0">
                    <a:pos x="87" y="120"/>
                  </a:cxn>
                  <a:cxn ang="0">
                    <a:pos x="97" y="114"/>
                  </a:cxn>
                  <a:cxn ang="0">
                    <a:pos x="106" y="108"/>
                  </a:cxn>
                  <a:cxn ang="0">
                    <a:pos x="115" y="103"/>
                  </a:cxn>
                  <a:cxn ang="0">
                    <a:pos x="125" y="98"/>
                  </a:cxn>
                  <a:cxn ang="0">
                    <a:pos x="130" y="96"/>
                  </a:cxn>
                  <a:cxn ang="0">
                    <a:pos x="137" y="94"/>
                  </a:cxn>
                  <a:cxn ang="0">
                    <a:pos x="145" y="93"/>
                  </a:cxn>
                  <a:cxn ang="0">
                    <a:pos x="152" y="93"/>
                  </a:cxn>
                  <a:cxn ang="0">
                    <a:pos x="162" y="94"/>
                  </a:cxn>
                  <a:cxn ang="0">
                    <a:pos x="171" y="96"/>
                  </a:cxn>
                  <a:cxn ang="0">
                    <a:pos x="180" y="99"/>
                  </a:cxn>
                  <a:cxn ang="0">
                    <a:pos x="188" y="103"/>
                  </a:cxn>
                  <a:cxn ang="0">
                    <a:pos x="204" y="111"/>
                  </a:cxn>
                  <a:cxn ang="0">
                    <a:pos x="219" y="117"/>
                  </a:cxn>
                  <a:cxn ang="0">
                    <a:pos x="259" y="117"/>
                  </a:cxn>
                  <a:cxn ang="0">
                    <a:pos x="259" y="99"/>
                  </a:cxn>
                  <a:cxn ang="0">
                    <a:pos x="252" y="98"/>
                  </a:cxn>
                  <a:cxn ang="0">
                    <a:pos x="244" y="96"/>
                  </a:cxn>
                  <a:cxn ang="0">
                    <a:pos x="236" y="94"/>
                  </a:cxn>
                  <a:cxn ang="0">
                    <a:pos x="226" y="93"/>
                  </a:cxn>
                  <a:cxn ang="0">
                    <a:pos x="230" y="85"/>
                  </a:cxn>
                  <a:cxn ang="0">
                    <a:pos x="236" y="79"/>
                  </a:cxn>
                  <a:cxn ang="0">
                    <a:pos x="240" y="74"/>
                  </a:cxn>
                  <a:cxn ang="0">
                    <a:pos x="246" y="69"/>
                  </a:cxn>
                  <a:cxn ang="0">
                    <a:pos x="238" y="61"/>
                  </a:cxn>
                  <a:cxn ang="0">
                    <a:pos x="230" y="56"/>
                  </a:cxn>
                  <a:cxn ang="0">
                    <a:pos x="222" y="50"/>
                  </a:cxn>
                  <a:cxn ang="0">
                    <a:pos x="214" y="46"/>
                  </a:cxn>
                  <a:cxn ang="0">
                    <a:pos x="197" y="37"/>
                  </a:cxn>
                  <a:cxn ang="0">
                    <a:pos x="182" y="30"/>
                  </a:cxn>
                  <a:cxn ang="0">
                    <a:pos x="166" y="23"/>
                  </a:cxn>
                  <a:cxn ang="0">
                    <a:pos x="153" y="17"/>
                  </a:cxn>
                  <a:cxn ang="0">
                    <a:pos x="147" y="13"/>
                  </a:cxn>
                  <a:cxn ang="0">
                    <a:pos x="141" y="10"/>
                  </a:cxn>
                  <a:cxn ang="0">
                    <a:pos x="137" y="5"/>
                  </a:cxn>
                  <a:cxn ang="0">
                    <a:pos x="132" y="0"/>
                  </a:cxn>
                  <a:cxn ang="0">
                    <a:pos x="124" y="3"/>
                  </a:cxn>
                  <a:cxn ang="0">
                    <a:pos x="114" y="7"/>
                  </a:cxn>
                  <a:cxn ang="0">
                    <a:pos x="105" y="12"/>
                  </a:cxn>
                  <a:cxn ang="0">
                    <a:pos x="95" y="17"/>
                  </a:cxn>
                  <a:cxn ang="0">
                    <a:pos x="75" y="29"/>
                  </a:cxn>
                  <a:cxn ang="0">
                    <a:pos x="57" y="42"/>
                  </a:cxn>
                  <a:cxn ang="0">
                    <a:pos x="38" y="56"/>
                  </a:cxn>
                  <a:cxn ang="0">
                    <a:pos x="23" y="70"/>
                  </a:cxn>
                  <a:cxn ang="0">
                    <a:pos x="9" y="83"/>
                  </a:cxn>
                  <a:cxn ang="0">
                    <a:pos x="0" y="93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4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7" y="35"/>
                  </a:cxn>
                  <a:cxn ang="0">
                    <a:pos x="14" y="38"/>
                  </a:cxn>
                  <a:cxn ang="0">
                    <a:pos x="20" y="42"/>
                  </a:cxn>
                  <a:cxn ang="0">
                    <a:pos x="26" y="47"/>
                  </a:cxn>
                  <a:cxn ang="0">
                    <a:pos x="32" y="51"/>
                  </a:cxn>
                  <a:cxn ang="0">
                    <a:pos x="36" y="54"/>
                  </a:cxn>
                  <a:cxn ang="0">
                    <a:pos x="41" y="56"/>
                  </a:cxn>
                  <a:cxn ang="0">
                    <a:pos x="47" y="57"/>
                  </a:cxn>
                  <a:cxn ang="0">
                    <a:pos x="55" y="57"/>
                  </a:cxn>
                  <a:cxn ang="0">
                    <a:pos x="62" y="56"/>
                  </a:cxn>
                  <a:cxn ang="0">
                    <a:pos x="70" y="55"/>
                  </a:cxn>
                  <a:cxn ang="0">
                    <a:pos x="77" y="53"/>
                  </a:cxn>
                  <a:cxn ang="0">
                    <a:pos x="83" y="50"/>
                  </a:cxn>
                  <a:cxn ang="0">
                    <a:pos x="89" y="48"/>
                  </a:cxn>
                  <a:cxn ang="0">
                    <a:pos x="93" y="44"/>
                  </a:cxn>
                  <a:cxn ang="0">
                    <a:pos x="97" y="40"/>
                  </a:cxn>
                  <a:cxn ang="0">
                    <a:pos x="106" y="32"/>
                  </a:cxn>
                  <a:cxn ang="0">
                    <a:pos x="112" y="23"/>
                  </a:cxn>
                  <a:cxn ang="0">
                    <a:pos x="116" y="13"/>
                  </a:cxn>
                  <a:cxn ang="0">
                    <a:pos x="119" y="1"/>
                  </a:cxn>
                  <a:cxn ang="0">
                    <a:pos x="101" y="0"/>
                  </a:cxn>
                  <a:cxn ang="0">
                    <a:pos x="82" y="0"/>
                  </a:cxn>
                  <a:cxn ang="0">
                    <a:pos x="63" y="2"/>
                  </a:cxn>
                  <a:cxn ang="0">
                    <a:pos x="45" y="5"/>
                  </a:cxn>
                  <a:cxn ang="0">
                    <a:pos x="36" y="7"/>
                  </a:cxn>
                  <a:cxn ang="0">
                    <a:pos x="28" y="10"/>
                  </a:cxn>
                  <a:cxn ang="0">
                    <a:pos x="22" y="13"/>
                  </a:cxn>
                  <a:cxn ang="0">
                    <a:pos x="15" y="16"/>
                  </a:cxn>
                  <a:cxn ang="0">
                    <a:pos x="10" y="19"/>
                  </a:cxn>
                  <a:cxn ang="0">
                    <a:pos x="5" y="23"/>
                  </a:cxn>
                  <a:cxn ang="0">
                    <a:pos x="2" y="27"/>
                  </a:cxn>
                  <a:cxn ang="0">
                    <a:pos x="0" y="32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5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6" y="51"/>
                  </a:cxn>
                  <a:cxn ang="0">
                    <a:pos x="9" y="52"/>
                  </a:cxn>
                  <a:cxn ang="0">
                    <a:pos x="13" y="52"/>
                  </a:cxn>
                  <a:cxn ang="0">
                    <a:pos x="17" y="52"/>
                  </a:cxn>
                  <a:cxn ang="0">
                    <a:pos x="24" y="50"/>
                  </a:cxn>
                  <a:cxn ang="0">
                    <a:pos x="34" y="50"/>
                  </a:cxn>
                  <a:cxn ang="0">
                    <a:pos x="43" y="49"/>
                  </a:cxn>
                  <a:cxn ang="0">
                    <a:pos x="53" y="48"/>
                  </a:cxn>
                  <a:cxn ang="0">
                    <a:pos x="62" y="47"/>
                  </a:cxn>
                  <a:cxn ang="0">
                    <a:pos x="70" y="43"/>
                  </a:cxn>
                  <a:cxn ang="0">
                    <a:pos x="79" y="40"/>
                  </a:cxn>
                  <a:cxn ang="0">
                    <a:pos x="88" y="36"/>
                  </a:cxn>
                  <a:cxn ang="0">
                    <a:pos x="97" y="31"/>
                  </a:cxn>
                  <a:cxn ang="0">
                    <a:pos x="107" y="24"/>
                  </a:cxn>
                  <a:cxn ang="0">
                    <a:pos x="107" y="0"/>
                  </a:cxn>
                  <a:cxn ang="0">
                    <a:pos x="98" y="1"/>
                  </a:cxn>
                  <a:cxn ang="0">
                    <a:pos x="86" y="3"/>
                  </a:cxn>
                  <a:cxn ang="0">
                    <a:pos x="72" y="7"/>
                  </a:cxn>
                  <a:cxn ang="0">
                    <a:pos x="56" y="13"/>
                  </a:cxn>
                  <a:cxn ang="0">
                    <a:pos x="41" y="20"/>
                  </a:cxn>
                  <a:cxn ang="0">
                    <a:pos x="25" y="28"/>
                  </a:cxn>
                  <a:cxn ang="0">
                    <a:pos x="19" y="33"/>
                  </a:cxn>
                  <a:cxn ang="0">
                    <a:pos x="12" y="38"/>
                  </a:cxn>
                  <a:cxn ang="0">
                    <a:pos x="6" y="43"/>
                  </a:cxn>
                  <a:cxn ang="0">
                    <a:pos x="0" y="50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6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/>
                <a:ahLst/>
                <a:cxnLst>
                  <a:cxn ang="0">
                    <a:pos x="27" y="99"/>
                  </a:cxn>
                  <a:cxn ang="0">
                    <a:pos x="22" y="97"/>
                  </a:cxn>
                  <a:cxn ang="0">
                    <a:pos x="17" y="96"/>
                  </a:cxn>
                  <a:cxn ang="0">
                    <a:pos x="12" y="93"/>
                  </a:cxn>
                  <a:cxn ang="0">
                    <a:pos x="9" y="90"/>
                  </a:cxn>
                  <a:cxn ang="0">
                    <a:pos x="6" y="86"/>
                  </a:cxn>
                  <a:cxn ang="0">
                    <a:pos x="2" y="82"/>
                  </a:cxn>
                  <a:cxn ang="0">
                    <a:pos x="1" y="78"/>
                  </a:cxn>
                  <a:cxn ang="0">
                    <a:pos x="0" y="73"/>
                  </a:cxn>
                  <a:cxn ang="0">
                    <a:pos x="0" y="69"/>
                  </a:cxn>
                  <a:cxn ang="0">
                    <a:pos x="1" y="65"/>
                  </a:cxn>
                  <a:cxn ang="0">
                    <a:pos x="3" y="60"/>
                  </a:cxn>
                  <a:cxn ang="0">
                    <a:pos x="5" y="56"/>
                  </a:cxn>
                  <a:cxn ang="0">
                    <a:pos x="10" y="49"/>
                  </a:cxn>
                  <a:cxn ang="0">
                    <a:pos x="18" y="41"/>
                  </a:cxn>
                  <a:cxn ang="0">
                    <a:pos x="25" y="34"/>
                  </a:cxn>
                  <a:cxn ang="0">
                    <a:pos x="35" y="28"/>
                  </a:cxn>
                  <a:cxn ang="0">
                    <a:pos x="46" y="23"/>
                  </a:cxn>
                  <a:cxn ang="0">
                    <a:pos x="57" y="18"/>
                  </a:cxn>
                  <a:cxn ang="0">
                    <a:pos x="69" y="14"/>
                  </a:cxn>
                  <a:cxn ang="0">
                    <a:pos x="81" y="10"/>
                  </a:cxn>
                  <a:cxn ang="0">
                    <a:pos x="92" y="7"/>
                  </a:cxn>
                  <a:cxn ang="0">
                    <a:pos x="104" y="4"/>
                  </a:cxn>
                  <a:cxn ang="0">
                    <a:pos x="124" y="1"/>
                  </a:cxn>
                  <a:cxn ang="0">
                    <a:pos x="140" y="0"/>
                  </a:cxn>
                  <a:cxn ang="0">
                    <a:pos x="168" y="0"/>
                  </a:cxn>
                  <a:cxn ang="0">
                    <a:pos x="193" y="1"/>
                  </a:cxn>
                  <a:cxn ang="0">
                    <a:pos x="219" y="2"/>
                  </a:cxn>
                  <a:cxn ang="0">
                    <a:pos x="246" y="6"/>
                  </a:cxn>
                  <a:cxn ang="0">
                    <a:pos x="244" y="11"/>
                  </a:cxn>
                  <a:cxn ang="0">
                    <a:pos x="241" y="15"/>
                  </a:cxn>
                  <a:cxn ang="0">
                    <a:pos x="236" y="20"/>
                  </a:cxn>
                  <a:cxn ang="0">
                    <a:pos x="231" y="26"/>
                  </a:cxn>
                  <a:cxn ang="0">
                    <a:pos x="215" y="36"/>
                  </a:cxn>
                  <a:cxn ang="0">
                    <a:pos x="199" y="46"/>
                  </a:cxn>
                  <a:cxn ang="0">
                    <a:pos x="180" y="55"/>
                  </a:cxn>
                  <a:cxn ang="0">
                    <a:pos x="162" y="61"/>
                  </a:cxn>
                  <a:cxn ang="0">
                    <a:pos x="152" y="64"/>
                  </a:cxn>
                  <a:cxn ang="0">
                    <a:pos x="143" y="66"/>
                  </a:cxn>
                  <a:cxn ang="0">
                    <a:pos x="134" y="67"/>
                  </a:cxn>
                  <a:cxn ang="0">
                    <a:pos x="126" y="67"/>
                  </a:cxn>
                  <a:cxn ang="0">
                    <a:pos x="120" y="67"/>
                  </a:cxn>
                  <a:cxn ang="0">
                    <a:pos x="110" y="67"/>
                  </a:cxn>
                  <a:cxn ang="0">
                    <a:pos x="100" y="67"/>
                  </a:cxn>
                  <a:cxn ang="0">
                    <a:pos x="93" y="67"/>
                  </a:cxn>
                  <a:cxn ang="0">
                    <a:pos x="88" y="69"/>
                  </a:cxn>
                  <a:cxn ang="0">
                    <a:pos x="80" y="72"/>
                  </a:cxn>
                  <a:cxn ang="0">
                    <a:pos x="72" y="77"/>
                  </a:cxn>
                  <a:cxn ang="0">
                    <a:pos x="63" y="83"/>
                  </a:cxn>
                  <a:cxn ang="0">
                    <a:pos x="53" y="88"/>
                  </a:cxn>
                  <a:cxn ang="0">
                    <a:pos x="44" y="93"/>
                  </a:cxn>
                  <a:cxn ang="0">
                    <a:pos x="35" y="96"/>
                  </a:cxn>
                  <a:cxn ang="0">
                    <a:pos x="27" y="99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7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/>
                <a:ahLst/>
                <a:cxnLst>
                  <a:cxn ang="0">
                    <a:pos x="33" y="88"/>
                  </a:cxn>
                  <a:cxn ang="0">
                    <a:pos x="10" y="78"/>
                  </a:cxn>
                  <a:cxn ang="0">
                    <a:pos x="0" y="55"/>
                  </a:cxn>
                  <a:cxn ang="0">
                    <a:pos x="20" y="37"/>
                  </a:cxn>
                  <a:cxn ang="0">
                    <a:pos x="40" y="37"/>
                  </a:cxn>
                  <a:cxn ang="0">
                    <a:pos x="61" y="37"/>
                  </a:cxn>
                  <a:cxn ang="0">
                    <a:pos x="72" y="36"/>
                  </a:cxn>
                  <a:cxn ang="0">
                    <a:pos x="83" y="33"/>
                  </a:cxn>
                  <a:cxn ang="0">
                    <a:pos x="104" y="23"/>
                  </a:cxn>
                  <a:cxn ang="0">
                    <a:pos x="123" y="11"/>
                  </a:cxn>
                  <a:cxn ang="0">
                    <a:pos x="146" y="0"/>
                  </a:cxn>
                  <a:cxn ang="0">
                    <a:pos x="161" y="8"/>
                  </a:cxn>
                  <a:cxn ang="0">
                    <a:pos x="181" y="12"/>
                  </a:cxn>
                  <a:cxn ang="0">
                    <a:pos x="190" y="10"/>
                  </a:cxn>
                  <a:cxn ang="0">
                    <a:pos x="201" y="6"/>
                  </a:cxn>
                  <a:cxn ang="0">
                    <a:pos x="213" y="0"/>
                  </a:cxn>
                  <a:cxn ang="0">
                    <a:pos x="232" y="6"/>
                  </a:cxn>
                  <a:cxn ang="0">
                    <a:pos x="228" y="18"/>
                  </a:cxn>
                  <a:cxn ang="0">
                    <a:pos x="219" y="25"/>
                  </a:cxn>
                  <a:cxn ang="0">
                    <a:pos x="207" y="30"/>
                  </a:cxn>
                  <a:cxn ang="0">
                    <a:pos x="201" y="43"/>
                  </a:cxn>
                  <a:cxn ang="0">
                    <a:pos x="206" y="62"/>
                  </a:cxn>
                  <a:cxn ang="0">
                    <a:pos x="185" y="85"/>
                  </a:cxn>
                  <a:cxn ang="0">
                    <a:pos x="157" y="96"/>
                  </a:cxn>
                  <a:cxn ang="0">
                    <a:pos x="139" y="98"/>
                  </a:cxn>
                  <a:cxn ang="0">
                    <a:pos x="116" y="100"/>
                  </a:cxn>
                  <a:cxn ang="0">
                    <a:pos x="96" y="106"/>
                  </a:cxn>
                  <a:cxn ang="0">
                    <a:pos x="82" y="115"/>
                  </a:cxn>
                  <a:cxn ang="0">
                    <a:pos x="67" y="122"/>
                  </a:cxn>
                  <a:cxn ang="0">
                    <a:pos x="58" y="122"/>
                  </a:cxn>
                  <a:cxn ang="0">
                    <a:pos x="53" y="115"/>
                  </a:cxn>
                  <a:cxn ang="0">
                    <a:pos x="48" y="100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8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/>
                <a:ahLst/>
                <a:cxnLst>
                  <a:cxn ang="0">
                    <a:pos x="0" y="147"/>
                  </a:cxn>
                  <a:cxn ang="0">
                    <a:pos x="3" y="156"/>
                  </a:cxn>
                  <a:cxn ang="0">
                    <a:pos x="9" y="162"/>
                  </a:cxn>
                  <a:cxn ang="0">
                    <a:pos x="17" y="167"/>
                  </a:cxn>
                  <a:cxn ang="0">
                    <a:pos x="31" y="170"/>
                  </a:cxn>
                  <a:cxn ang="0">
                    <a:pos x="51" y="172"/>
                  </a:cxn>
                  <a:cxn ang="0">
                    <a:pos x="73" y="172"/>
                  </a:cxn>
                  <a:cxn ang="0">
                    <a:pos x="99" y="167"/>
                  </a:cxn>
                  <a:cxn ang="0">
                    <a:pos x="139" y="156"/>
                  </a:cxn>
                  <a:cxn ang="0">
                    <a:pos x="189" y="135"/>
                  </a:cxn>
                  <a:cxn ang="0">
                    <a:pos x="240" y="113"/>
                  </a:cxn>
                  <a:cxn ang="0">
                    <a:pos x="287" y="100"/>
                  </a:cxn>
                  <a:cxn ang="0">
                    <a:pos x="350" y="87"/>
                  </a:cxn>
                  <a:cxn ang="0">
                    <a:pos x="401" y="75"/>
                  </a:cxn>
                  <a:cxn ang="0">
                    <a:pos x="434" y="64"/>
                  </a:cxn>
                  <a:cxn ang="0">
                    <a:pos x="461" y="52"/>
                  </a:cxn>
                  <a:cxn ang="0">
                    <a:pos x="475" y="42"/>
                  </a:cxn>
                  <a:cxn ang="0">
                    <a:pos x="482" y="35"/>
                  </a:cxn>
                  <a:cxn ang="0">
                    <a:pos x="449" y="26"/>
                  </a:cxn>
                  <a:cxn ang="0">
                    <a:pos x="387" y="16"/>
                  </a:cxn>
                  <a:cxn ang="0">
                    <a:pos x="331" y="6"/>
                  </a:cxn>
                  <a:cxn ang="0">
                    <a:pos x="272" y="0"/>
                  </a:cxn>
                  <a:cxn ang="0">
                    <a:pos x="225" y="0"/>
                  </a:cxn>
                  <a:cxn ang="0">
                    <a:pos x="203" y="4"/>
                  </a:cxn>
                  <a:cxn ang="0">
                    <a:pos x="186" y="8"/>
                  </a:cxn>
                  <a:cxn ang="0">
                    <a:pos x="176" y="6"/>
                  </a:cxn>
                  <a:cxn ang="0">
                    <a:pos x="169" y="3"/>
                  </a:cxn>
                  <a:cxn ang="0">
                    <a:pos x="165" y="8"/>
                  </a:cxn>
                  <a:cxn ang="0">
                    <a:pos x="161" y="24"/>
                  </a:cxn>
                  <a:cxn ang="0">
                    <a:pos x="154" y="36"/>
                  </a:cxn>
                  <a:cxn ang="0">
                    <a:pos x="144" y="46"/>
                  </a:cxn>
                  <a:cxn ang="0">
                    <a:pos x="127" y="58"/>
                  </a:cxn>
                  <a:cxn ang="0">
                    <a:pos x="97" y="69"/>
                  </a:cxn>
                  <a:cxn ang="0">
                    <a:pos x="66" y="78"/>
                  </a:cxn>
                  <a:cxn ang="0">
                    <a:pos x="38" y="88"/>
                  </a:cxn>
                  <a:cxn ang="0">
                    <a:pos x="19" y="98"/>
                  </a:cxn>
                  <a:cxn ang="0">
                    <a:pos x="10" y="107"/>
                  </a:cxn>
                  <a:cxn ang="0">
                    <a:pos x="3" y="119"/>
                  </a:cxn>
                  <a:cxn ang="0">
                    <a:pos x="0" y="134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19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/>
                <a:ahLst/>
                <a:cxnLst>
                  <a:cxn ang="0">
                    <a:pos x="317" y="5"/>
                  </a:cxn>
                  <a:cxn ang="0">
                    <a:pos x="304" y="27"/>
                  </a:cxn>
                  <a:cxn ang="0">
                    <a:pos x="297" y="41"/>
                  </a:cxn>
                  <a:cxn ang="0">
                    <a:pos x="299" y="43"/>
                  </a:cxn>
                  <a:cxn ang="0">
                    <a:pos x="337" y="39"/>
                  </a:cxn>
                  <a:cxn ang="0">
                    <a:pos x="372" y="19"/>
                  </a:cxn>
                  <a:cxn ang="0">
                    <a:pos x="379" y="38"/>
                  </a:cxn>
                  <a:cxn ang="0">
                    <a:pos x="377" y="55"/>
                  </a:cxn>
                  <a:cxn ang="0">
                    <a:pos x="405" y="69"/>
                  </a:cxn>
                  <a:cxn ang="0">
                    <a:pos x="511" y="51"/>
                  </a:cxn>
                  <a:cxn ang="0">
                    <a:pos x="514" y="70"/>
                  </a:cxn>
                  <a:cxn ang="0">
                    <a:pos x="541" y="63"/>
                  </a:cxn>
                  <a:cxn ang="0">
                    <a:pos x="557" y="45"/>
                  </a:cxn>
                  <a:cxn ang="0">
                    <a:pos x="558" y="19"/>
                  </a:cxn>
                  <a:cxn ang="0">
                    <a:pos x="563" y="8"/>
                  </a:cxn>
                  <a:cxn ang="0">
                    <a:pos x="579" y="0"/>
                  </a:cxn>
                  <a:cxn ang="0">
                    <a:pos x="624" y="3"/>
                  </a:cxn>
                  <a:cxn ang="0">
                    <a:pos x="645" y="0"/>
                  </a:cxn>
                  <a:cxn ang="0">
                    <a:pos x="657" y="39"/>
                  </a:cxn>
                  <a:cxn ang="0">
                    <a:pos x="653" y="70"/>
                  </a:cxn>
                  <a:cxn ang="0">
                    <a:pos x="637" y="101"/>
                  </a:cxn>
                  <a:cxn ang="0">
                    <a:pos x="618" y="124"/>
                  </a:cxn>
                  <a:cxn ang="0">
                    <a:pos x="648" y="137"/>
                  </a:cxn>
                  <a:cxn ang="0">
                    <a:pos x="672" y="145"/>
                  </a:cxn>
                  <a:cxn ang="0">
                    <a:pos x="684" y="180"/>
                  </a:cxn>
                  <a:cxn ang="0">
                    <a:pos x="639" y="185"/>
                  </a:cxn>
                  <a:cxn ang="0">
                    <a:pos x="608" y="181"/>
                  </a:cxn>
                  <a:cxn ang="0">
                    <a:pos x="574" y="180"/>
                  </a:cxn>
                  <a:cxn ang="0">
                    <a:pos x="564" y="184"/>
                  </a:cxn>
                  <a:cxn ang="0">
                    <a:pos x="542" y="200"/>
                  </a:cxn>
                  <a:cxn ang="0">
                    <a:pos x="524" y="209"/>
                  </a:cxn>
                  <a:cxn ang="0">
                    <a:pos x="493" y="209"/>
                  </a:cxn>
                  <a:cxn ang="0">
                    <a:pos x="452" y="204"/>
                  </a:cxn>
                  <a:cxn ang="0">
                    <a:pos x="422" y="198"/>
                  </a:cxn>
                  <a:cxn ang="0">
                    <a:pos x="337" y="211"/>
                  </a:cxn>
                  <a:cxn ang="0">
                    <a:pos x="231" y="230"/>
                  </a:cxn>
                  <a:cxn ang="0">
                    <a:pos x="169" y="238"/>
                  </a:cxn>
                  <a:cxn ang="0">
                    <a:pos x="124" y="238"/>
                  </a:cxn>
                  <a:cxn ang="0">
                    <a:pos x="100" y="228"/>
                  </a:cxn>
                  <a:cxn ang="0">
                    <a:pos x="67" y="208"/>
                  </a:cxn>
                  <a:cxn ang="0">
                    <a:pos x="29" y="196"/>
                  </a:cxn>
                  <a:cxn ang="0">
                    <a:pos x="0" y="173"/>
                  </a:cxn>
                  <a:cxn ang="0">
                    <a:pos x="64" y="159"/>
                  </a:cxn>
                  <a:cxn ang="0">
                    <a:pos x="100" y="154"/>
                  </a:cxn>
                  <a:cxn ang="0">
                    <a:pos x="156" y="160"/>
                  </a:cxn>
                  <a:cxn ang="0">
                    <a:pos x="201" y="165"/>
                  </a:cxn>
                  <a:cxn ang="0">
                    <a:pos x="224" y="162"/>
                  </a:cxn>
                  <a:cxn ang="0">
                    <a:pos x="26" y="136"/>
                  </a:cxn>
                  <a:cxn ang="0">
                    <a:pos x="52" y="128"/>
                  </a:cxn>
                  <a:cxn ang="0">
                    <a:pos x="109" y="117"/>
                  </a:cxn>
                  <a:cxn ang="0">
                    <a:pos x="165" y="108"/>
                  </a:cxn>
                  <a:cxn ang="0">
                    <a:pos x="187" y="99"/>
                  </a:cxn>
                  <a:cxn ang="0">
                    <a:pos x="166" y="93"/>
                  </a:cxn>
                  <a:cxn ang="0">
                    <a:pos x="125" y="98"/>
                  </a:cxn>
                  <a:cxn ang="0">
                    <a:pos x="71" y="110"/>
                  </a:cxn>
                  <a:cxn ang="0">
                    <a:pos x="52" y="106"/>
                  </a:cxn>
                  <a:cxn ang="0">
                    <a:pos x="55" y="90"/>
                  </a:cxn>
                  <a:cxn ang="0">
                    <a:pos x="54" y="81"/>
                  </a:cxn>
                  <a:cxn ang="0">
                    <a:pos x="59" y="78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0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/>
                <a:ahLst/>
                <a:cxnLst>
                  <a:cxn ang="0">
                    <a:pos x="180" y="38"/>
                  </a:cxn>
                  <a:cxn ang="0">
                    <a:pos x="202" y="24"/>
                  </a:cxn>
                  <a:cxn ang="0">
                    <a:pos x="226" y="7"/>
                  </a:cxn>
                  <a:cxn ang="0">
                    <a:pos x="240" y="1"/>
                  </a:cxn>
                  <a:cxn ang="0">
                    <a:pos x="246" y="1"/>
                  </a:cxn>
                  <a:cxn ang="0">
                    <a:pos x="245" y="12"/>
                  </a:cxn>
                  <a:cxn ang="0">
                    <a:pos x="234" y="33"/>
                  </a:cxn>
                  <a:cxn ang="0">
                    <a:pos x="217" y="55"/>
                  </a:cxn>
                  <a:cxn ang="0">
                    <a:pos x="202" y="67"/>
                  </a:cxn>
                  <a:cxn ang="0">
                    <a:pos x="191" y="71"/>
                  </a:cxn>
                  <a:cxn ang="0">
                    <a:pos x="191" y="73"/>
                  </a:cxn>
                  <a:cxn ang="0">
                    <a:pos x="201" y="74"/>
                  </a:cxn>
                  <a:cxn ang="0">
                    <a:pos x="216" y="72"/>
                  </a:cxn>
                  <a:cxn ang="0">
                    <a:pos x="224" y="77"/>
                  </a:cxn>
                  <a:cxn ang="0">
                    <a:pos x="217" y="88"/>
                  </a:cxn>
                  <a:cxn ang="0">
                    <a:pos x="214" y="97"/>
                  </a:cxn>
                  <a:cxn ang="0">
                    <a:pos x="217" y="105"/>
                  </a:cxn>
                  <a:cxn ang="0">
                    <a:pos x="249" y="113"/>
                  </a:cxn>
                  <a:cxn ang="0">
                    <a:pos x="308" y="124"/>
                  </a:cxn>
                  <a:cxn ang="0">
                    <a:pos x="322" y="131"/>
                  </a:cxn>
                  <a:cxn ang="0">
                    <a:pos x="315" y="140"/>
                  </a:cxn>
                  <a:cxn ang="0">
                    <a:pos x="303" y="149"/>
                  </a:cxn>
                  <a:cxn ang="0">
                    <a:pos x="299" y="154"/>
                  </a:cxn>
                  <a:cxn ang="0">
                    <a:pos x="302" y="160"/>
                  </a:cxn>
                  <a:cxn ang="0">
                    <a:pos x="308" y="168"/>
                  </a:cxn>
                  <a:cxn ang="0">
                    <a:pos x="319" y="176"/>
                  </a:cxn>
                  <a:cxn ang="0">
                    <a:pos x="329" y="184"/>
                  </a:cxn>
                  <a:cxn ang="0">
                    <a:pos x="290" y="211"/>
                  </a:cxn>
                  <a:cxn ang="0">
                    <a:pos x="241" y="241"/>
                  </a:cxn>
                  <a:cxn ang="0">
                    <a:pos x="207" y="268"/>
                  </a:cxn>
                  <a:cxn ang="0">
                    <a:pos x="173" y="244"/>
                  </a:cxn>
                  <a:cxn ang="0">
                    <a:pos x="182" y="243"/>
                  </a:cxn>
                  <a:cxn ang="0">
                    <a:pos x="189" y="240"/>
                  </a:cxn>
                  <a:cxn ang="0">
                    <a:pos x="200" y="232"/>
                  </a:cxn>
                  <a:cxn ang="0">
                    <a:pos x="149" y="232"/>
                  </a:cxn>
                  <a:cxn ang="0">
                    <a:pos x="101" y="232"/>
                  </a:cxn>
                  <a:cxn ang="0">
                    <a:pos x="58" y="232"/>
                  </a:cxn>
                  <a:cxn ang="0">
                    <a:pos x="27" y="232"/>
                  </a:cxn>
                  <a:cxn ang="0">
                    <a:pos x="11" y="227"/>
                  </a:cxn>
                  <a:cxn ang="0">
                    <a:pos x="3" y="222"/>
                  </a:cxn>
                  <a:cxn ang="0">
                    <a:pos x="0" y="213"/>
                  </a:cxn>
                  <a:cxn ang="0">
                    <a:pos x="4" y="205"/>
                  </a:cxn>
                  <a:cxn ang="0">
                    <a:pos x="13" y="197"/>
                  </a:cxn>
                  <a:cxn ang="0">
                    <a:pos x="41" y="179"/>
                  </a:cxn>
                  <a:cxn ang="0">
                    <a:pos x="73" y="162"/>
                  </a:cxn>
                  <a:cxn ang="0">
                    <a:pos x="85" y="152"/>
                  </a:cxn>
                  <a:cxn ang="0">
                    <a:pos x="93" y="145"/>
                  </a:cxn>
                  <a:cxn ang="0">
                    <a:pos x="106" y="130"/>
                  </a:cxn>
                  <a:cxn ang="0">
                    <a:pos x="116" y="114"/>
                  </a:cxn>
                  <a:cxn ang="0">
                    <a:pos x="130" y="79"/>
                  </a:cxn>
                  <a:cxn ang="0">
                    <a:pos x="138" y="64"/>
                  </a:cxn>
                  <a:cxn ang="0">
                    <a:pos x="147" y="52"/>
                  </a:cxn>
                  <a:cxn ang="0">
                    <a:pos x="158" y="43"/>
                  </a:cxn>
                  <a:cxn ang="0">
                    <a:pos x="173" y="40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1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/>
                <a:ahLst/>
                <a:cxnLst>
                  <a:cxn ang="0">
                    <a:pos x="106" y="86"/>
                  </a:cxn>
                  <a:cxn ang="0">
                    <a:pos x="119" y="81"/>
                  </a:cxn>
                  <a:cxn ang="0">
                    <a:pos x="133" y="76"/>
                  </a:cxn>
                  <a:cxn ang="0">
                    <a:pos x="148" y="72"/>
                  </a:cxn>
                  <a:cxn ang="0">
                    <a:pos x="164" y="69"/>
                  </a:cxn>
                  <a:cxn ang="0">
                    <a:pos x="197" y="63"/>
                  </a:cxn>
                  <a:cxn ang="0">
                    <a:pos x="231" y="57"/>
                  </a:cxn>
                  <a:cxn ang="0">
                    <a:pos x="247" y="53"/>
                  </a:cxn>
                  <a:cxn ang="0">
                    <a:pos x="264" y="50"/>
                  </a:cxn>
                  <a:cxn ang="0">
                    <a:pos x="279" y="46"/>
                  </a:cxn>
                  <a:cxn ang="0">
                    <a:pos x="294" y="40"/>
                  </a:cxn>
                  <a:cxn ang="0">
                    <a:pos x="309" y="35"/>
                  </a:cxn>
                  <a:cxn ang="0">
                    <a:pos x="322" y="28"/>
                  </a:cxn>
                  <a:cxn ang="0">
                    <a:pos x="334" y="21"/>
                  </a:cxn>
                  <a:cxn ang="0">
                    <a:pos x="345" y="13"/>
                  </a:cxn>
                  <a:cxn ang="0">
                    <a:pos x="335" y="12"/>
                  </a:cxn>
                  <a:cxn ang="0">
                    <a:pos x="326" y="11"/>
                  </a:cxn>
                  <a:cxn ang="0">
                    <a:pos x="317" y="9"/>
                  </a:cxn>
                  <a:cxn ang="0">
                    <a:pos x="309" y="6"/>
                  </a:cxn>
                  <a:cxn ang="0">
                    <a:pos x="300" y="4"/>
                  </a:cxn>
                  <a:cxn ang="0">
                    <a:pos x="291" y="2"/>
                  </a:cxn>
                  <a:cxn ang="0">
                    <a:pos x="281" y="1"/>
                  </a:cxn>
                  <a:cxn ang="0">
                    <a:pos x="272" y="0"/>
                  </a:cxn>
                  <a:cxn ang="0">
                    <a:pos x="259" y="1"/>
                  </a:cxn>
                  <a:cxn ang="0">
                    <a:pos x="245" y="3"/>
                  </a:cxn>
                  <a:cxn ang="0">
                    <a:pos x="227" y="5"/>
                  </a:cxn>
                  <a:cxn ang="0">
                    <a:pos x="209" y="9"/>
                  </a:cxn>
                  <a:cxn ang="0">
                    <a:pos x="168" y="18"/>
                  </a:cxn>
                  <a:cxn ang="0">
                    <a:pos x="126" y="29"/>
                  </a:cxn>
                  <a:cxn ang="0">
                    <a:pos x="104" y="36"/>
                  </a:cxn>
                  <a:cxn ang="0">
                    <a:pos x="85" y="42"/>
                  </a:cxn>
                  <a:cxn ang="0">
                    <a:pos x="66" y="50"/>
                  </a:cxn>
                  <a:cxn ang="0">
                    <a:pos x="47" y="58"/>
                  </a:cxn>
                  <a:cxn ang="0">
                    <a:pos x="32" y="65"/>
                  </a:cxn>
                  <a:cxn ang="0">
                    <a:pos x="19" y="72"/>
                  </a:cxn>
                  <a:cxn ang="0">
                    <a:pos x="8" y="79"/>
                  </a:cxn>
                  <a:cxn ang="0">
                    <a:pos x="0" y="86"/>
                  </a:cxn>
                  <a:cxn ang="0">
                    <a:pos x="106" y="86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2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/>
                <a:ahLst/>
                <a:cxnLst>
                  <a:cxn ang="0">
                    <a:pos x="19" y="86"/>
                  </a:cxn>
                  <a:cxn ang="0">
                    <a:pos x="77" y="81"/>
                  </a:cxn>
                  <a:cxn ang="0">
                    <a:pos x="103" y="81"/>
                  </a:cxn>
                  <a:cxn ang="0">
                    <a:pos x="92" y="89"/>
                  </a:cxn>
                  <a:cxn ang="0">
                    <a:pos x="81" y="100"/>
                  </a:cxn>
                  <a:cxn ang="0">
                    <a:pos x="73" y="112"/>
                  </a:cxn>
                  <a:cxn ang="0">
                    <a:pos x="73" y="119"/>
                  </a:cxn>
                  <a:cxn ang="0">
                    <a:pos x="79" y="124"/>
                  </a:cxn>
                  <a:cxn ang="0">
                    <a:pos x="92" y="129"/>
                  </a:cxn>
                  <a:cxn ang="0">
                    <a:pos x="109" y="129"/>
                  </a:cxn>
                  <a:cxn ang="0">
                    <a:pos x="128" y="127"/>
                  </a:cxn>
                  <a:cxn ang="0">
                    <a:pos x="157" y="119"/>
                  </a:cxn>
                  <a:cxn ang="0">
                    <a:pos x="196" y="108"/>
                  </a:cxn>
                  <a:cxn ang="0">
                    <a:pos x="226" y="101"/>
                  </a:cxn>
                  <a:cxn ang="0">
                    <a:pos x="248" y="99"/>
                  </a:cxn>
                  <a:cxn ang="0">
                    <a:pos x="266" y="99"/>
                  </a:cxn>
                  <a:cxn ang="0">
                    <a:pos x="304" y="99"/>
                  </a:cxn>
                  <a:cxn ang="0">
                    <a:pos x="333" y="98"/>
                  </a:cxn>
                  <a:cxn ang="0">
                    <a:pos x="376" y="93"/>
                  </a:cxn>
                  <a:cxn ang="0">
                    <a:pos x="415" y="83"/>
                  </a:cxn>
                  <a:cxn ang="0">
                    <a:pos x="449" y="66"/>
                  </a:cxn>
                  <a:cxn ang="0">
                    <a:pos x="455" y="51"/>
                  </a:cxn>
                  <a:cxn ang="0">
                    <a:pos x="439" y="48"/>
                  </a:cxn>
                  <a:cxn ang="0">
                    <a:pos x="413" y="48"/>
                  </a:cxn>
                  <a:cxn ang="0">
                    <a:pos x="396" y="46"/>
                  </a:cxn>
                  <a:cxn ang="0">
                    <a:pos x="406" y="36"/>
                  </a:cxn>
                  <a:cxn ang="0">
                    <a:pos x="413" y="22"/>
                  </a:cxn>
                  <a:cxn ang="0">
                    <a:pos x="418" y="7"/>
                  </a:cxn>
                  <a:cxn ang="0">
                    <a:pos x="378" y="0"/>
                  </a:cxn>
                  <a:cxn ang="0">
                    <a:pos x="360" y="19"/>
                  </a:cxn>
                  <a:cxn ang="0">
                    <a:pos x="343" y="41"/>
                  </a:cxn>
                  <a:cxn ang="0">
                    <a:pos x="323" y="59"/>
                  </a:cxn>
                  <a:cxn ang="0">
                    <a:pos x="312" y="65"/>
                  </a:cxn>
                  <a:cxn ang="0">
                    <a:pos x="298" y="68"/>
                  </a:cxn>
                  <a:cxn ang="0">
                    <a:pos x="278" y="66"/>
                  </a:cxn>
                  <a:cxn ang="0">
                    <a:pos x="262" y="63"/>
                  </a:cxn>
                  <a:cxn ang="0">
                    <a:pos x="239" y="54"/>
                  </a:cxn>
                  <a:cxn ang="0">
                    <a:pos x="205" y="31"/>
                  </a:cxn>
                  <a:cxn ang="0">
                    <a:pos x="180" y="29"/>
                  </a:cxn>
                  <a:cxn ang="0">
                    <a:pos x="150" y="31"/>
                  </a:cxn>
                  <a:cxn ang="0">
                    <a:pos x="117" y="37"/>
                  </a:cxn>
                  <a:cxn ang="0">
                    <a:pos x="85" y="45"/>
                  </a:cxn>
                  <a:cxn ang="0">
                    <a:pos x="54" y="54"/>
                  </a:cxn>
                  <a:cxn ang="0">
                    <a:pos x="29" y="65"/>
                  </a:cxn>
                  <a:cxn ang="0">
                    <a:pos x="9" y="77"/>
                  </a:cxn>
                  <a:cxn ang="0">
                    <a:pos x="0" y="86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3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/>
                <a:ahLst/>
                <a:cxnLst>
                  <a:cxn ang="0">
                    <a:pos x="63" y="0"/>
                  </a:cxn>
                  <a:cxn ang="0">
                    <a:pos x="44" y="0"/>
                  </a:cxn>
                  <a:cxn ang="0">
                    <a:pos x="24" y="0"/>
                  </a:cxn>
                  <a:cxn ang="0">
                    <a:pos x="12" y="3"/>
                  </a:cxn>
                  <a:cxn ang="0">
                    <a:pos x="7" y="8"/>
                  </a:cxn>
                  <a:cxn ang="0">
                    <a:pos x="7" y="16"/>
                  </a:cxn>
                  <a:cxn ang="0">
                    <a:pos x="10" y="23"/>
                  </a:cxn>
                  <a:cxn ang="0">
                    <a:pos x="15" y="32"/>
                  </a:cxn>
                  <a:cxn ang="0">
                    <a:pos x="14" y="41"/>
                  </a:cxn>
                  <a:cxn ang="0">
                    <a:pos x="4" y="50"/>
                  </a:cxn>
                  <a:cxn ang="0">
                    <a:pos x="1" y="57"/>
                  </a:cxn>
                  <a:cxn ang="0">
                    <a:pos x="2" y="64"/>
                  </a:cxn>
                  <a:cxn ang="0">
                    <a:pos x="14" y="69"/>
                  </a:cxn>
                  <a:cxn ang="0">
                    <a:pos x="48" y="76"/>
                  </a:cxn>
                  <a:cxn ang="0">
                    <a:pos x="109" y="85"/>
                  </a:cxn>
                  <a:cxn ang="0">
                    <a:pos x="167" y="91"/>
                  </a:cxn>
                  <a:cxn ang="0">
                    <a:pos x="365" y="92"/>
                  </a:cxn>
                  <a:cxn ang="0">
                    <a:pos x="374" y="81"/>
                  </a:cxn>
                  <a:cxn ang="0">
                    <a:pos x="385" y="75"/>
                  </a:cxn>
                  <a:cxn ang="0">
                    <a:pos x="397" y="73"/>
                  </a:cxn>
                  <a:cxn ang="0">
                    <a:pos x="411" y="73"/>
                  </a:cxn>
                  <a:cxn ang="0">
                    <a:pos x="441" y="76"/>
                  </a:cxn>
                  <a:cxn ang="0">
                    <a:pos x="456" y="76"/>
                  </a:cxn>
                  <a:cxn ang="0">
                    <a:pos x="472" y="73"/>
                  </a:cxn>
                  <a:cxn ang="0">
                    <a:pos x="465" y="33"/>
                  </a:cxn>
                  <a:cxn ang="0">
                    <a:pos x="453" y="26"/>
                  </a:cxn>
                  <a:cxn ang="0">
                    <a:pos x="443" y="18"/>
                  </a:cxn>
                  <a:cxn ang="0">
                    <a:pos x="432" y="13"/>
                  </a:cxn>
                  <a:cxn ang="0">
                    <a:pos x="416" y="12"/>
                  </a:cxn>
                  <a:cxn ang="0">
                    <a:pos x="396" y="15"/>
                  </a:cxn>
                  <a:cxn ang="0">
                    <a:pos x="367" y="22"/>
                  </a:cxn>
                  <a:cxn ang="0">
                    <a:pos x="328" y="33"/>
                  </a:cxn>
                  <a:cxn ang="0">
                    <a:pos x="298" y="39"/>
                  </a:cxn>
                  <a:cxn ang="0">
                    <a:pos x="276" y="42"/>
                  </a:cxn>
                  <a:cxn ang="0">
                    <a:pos x="236" y="42"/>
                  </a:cxn>
                  <a:cxn ang="0">
                    <a:pos x="191" y="42"/>
                  </a:cxn>
                  <a:cxn ang="0">
                    <a:pos x="156" y="42"/>
                  </a:cxn>
                  <a:cxn ang="0">
                    <a:pos x="120" y="42"/>
                  </a:cxn>
                  <a:cxn ang="0">
                    <a:pos x="91" y="41"/>
                  </a:cxn>
                  <a:cxn ang="0">
                    <a:pos x="78" y="36"/>
                  </a:cxn>
                  <a:cxn ang="0">
                    <a:pos x="70" y="27"/>
                  </a:cxn>
                  <a:cxn ang="0">
                    <a:pos x="67" y="17"/>
                  </a:cxn>
                  <a:cxn ang="0">
                    <a:pos x="69" y="8"/>
                  </a:cxn>
                  <a:cxn ang="0">
                    <a:pos x="74" y="2"/>
                  </a:cxn>
                  <a:cxn ang="0">
                    <a:pos x="74" y="0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4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/>
                <a:ahLst/>
                <a:cxnLst>
                  <a:cxn ang="0">
                    <a:pos x="145" y="107"/>
                  </a:cxn>
                  <a:cxn ang="0">
                    <a:pos x="203" y="97"/>
                  </a:cxn>
                  <a:cxn ang="0">
                    <a:pos x="262" y="84"/>
                  </a:cxn>
                  <a:cxn ang="0">
                    <a:pos x="300" y="74"/>
                  </a:cxn>
                  <a:cxn ang="0">
                    <a:pos x="318" y="66"/>
                  </a:cxn>
                  <a:cxn ang="0">
                    <a:pos x="322" y="56"/>
                  </a:cxn>
                  <a:cxn ang="0">
                    <a:pos x="312" y="48"/>
                  </a:cxn>
                  <a:cxn ang="0">
                    <a:pos x="300" y="41"/>
                  </a:cxn>
                  <a:cxn ang="0">
                    <a:pos x="286" y="37"/>
                  </a:cxn>
                  <a:cxn ang="0">
                    <a:pos x="263" y="32"/>
                  </a:cxn>
                  <a:cxn ang="0">
                    <a:pos x="230" y="30"/>
                  </a:cxn>
                  <a:cxn ang="0">
                    <a:pos x="209" y="30"/>
                  </a:cxn>
                  <a:cxn ang="0">
                    <a:pos x="202" y="24"/>
                  </a:cxn>
                  <a:cxn ang="0">
                    <a:pos x="196" y="17"/>
                  </a:cxn>
                  <a:cxn ang="0">
                    <a:pos x="191" y="9"/>
                  </a:cxn>
                  <a:cxn ang="0">
                    <a:pos x="180" y="5"/>
                  </a:cxn>
                  <a:cxn ang="0">
                    <a:pos x="162" y="1"/>
                  </a:cxn>
                  <a:cxn ang="0">
                    <a:pos x="135" y="1"/>
                  </a:cxn>
                  <a:cxn ang="0">
                    <a:pos x="87" y="8"/>
                  </a:cxn>
                  <a:cxn ang="0">
                    <a:pos x="49" y="17"/>
                  </a:cxn>
                  <a:cxn ang="0">
                    <a:pos x="27" y="26"/>
                  </a:cxn>
                  <a:cxn ang="0">
                    <a:pos x="11" y="37"/>
                  </a:cxn>
                  <a:cxn ang="0">
                    <a:pos x="3" y="46"/>
                  </a:cxn>
                  <a:cxn ang="0">
                    <a:pos x="1" y="52"/>
                  </a:cxn>
                  <a:cxn ang="0">
                    <a:pos x="34" y="74"/>
                  </a:cxn>
                  <a:cxn ang="0">
                    <a:pos x="56" y="81"/>
                  </a:cxn>
                  <a:cxn ang="0">
                    <a:pos x="41" y="90"/>
                  </a:cxn>
                  <a:cxn ang="0">
                    <a:pos x="38" y="99"/>
                  </a:cxn>
                  <a:cxn ang="0">
                    <a:pos x="44" y="114"/>
                  </a:cxn>
                  <a:cxn ang="0">
                    <a:pos x="48" y="128"/>
                  </a:cxn>
                  <a:cxn ang="0">
                    <a:pos x="55" y="134"/>
                  </a:cxn>
                  <a:cxn ang="0">
                    <a:pos x="69" y="135"/>
                  </a:cxn>
                  <a:cxn ang="0">
                    <a:pos x="86" y="131"/>
                  </a:cxn>
                  <a:cxn ang="0">
                    <a:pos x="101" y="127"/>
                  </a:cxn>
                  <a:cxn ang="0">
                    <a:pos x="117" y="124"/>
                  </a:cxn>
                  <a:cxn ang="0">
                    <a:pos x="120" y="11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5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/>
                <a:ahLst/>
                <a:cxnLst>
                  <a:cxn ang="0">
                    <a:pos x="46" y="53"/>
                  </a:cxn>
                  <a:cxn ang="0">
                    <a:pos x="40" y="52"/>
                  </a:cxn>
                  <a:cxn ang="0">
                    <a:pos x="34" y="49"/>
                  </a:cxn>
                  <a:cxn ang="0">
                    <a:pos x="26" y="45"/>
                  </a:cxn>
                  <a:cxn ang="0">
                    <a:pos x="18" y="38"/>
                  </a:cxn>
                  <a:cxn ang="0">
                    <a:pos x="10" y="31"/>
                  </a:cxn>
                  <a:cxn ang="0">
                    <a:pos x="5" y="24"/>
                  </a:cxn>
                  <a:cxn ang="0">
                    <a:pos x="3" y="21"/>
                  </a:cxn>
                  <a:cxn ang="0">
                    <a:pos x="1" y="17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21" y="10"/>
                  </a:cxn>
                  <a:cxn ang="0">
                    <a:pos x="39" y="10"/>
                  </a:cxn>
                  <a:cxn ang="0">
                    <a:pos x="52" y="10"/>
                  </a:cxn>
                  <a:cxn ang="0">
                    <a:pos x="59" y="10"/>
                  </a:cxn>
                  <a:cxn ang="0">
                    <a:pos x="83" y="6"/>
                  </a:cxn>
                  <a:cxn ang="0">
                    <a:pos x="117" y="0"/>
                  </a:cxn>
                  <a:cxn ang="0">
                    <a:pos x="125" y="0"/>
                  </a:cxn>
                  <a:cxn ang="0">
                    <a:pos x="132" y="0"/>
                  </a:cxn>
                  <a:cxn ang="0">
                    <a:pos x="140" y="0"/>
                  </a:cxn>
                  <a:cxn ang="0">
                    <a:pos x="147" y="2"/>
                  </a:cxn>
                  <a:cxn ang="0">
                    <a:pos x="151" y="5"/>
                  </a:cxn>
                  <a:cxn ang="0">
                    <a:pos x="155" y="9"/>
                  </a:cxn>
                  <a:cxn ang="0">
                    <a:pos x="158" y="15"/>
                  </a:cxn>
                  <a:cxn ang="0">
                    <a:pos x="159" y="22"/>
                  </a:cxn>
                  <a:cxn ang="0">
                    <a:pos x="158" y="30"/>
                  </a:cxn>
                  <a:cxn ang="0">
                    <a:pos x="155" y="37"/>
                  </a:cxn>
                  <a:cxn ang="0">
                    <a:pos x="151" y="44"/>
                  </a:cxn>
                  <a:cxn ang="0">
                    <a:pos x="146" y="48"/>
                  </a:cxn>
                  <a:cxn ang="0">
                    <a:pos x="139" y="52"/>
                  </a:cxn>
                  <a:cxn ang="0">
                    <a:pos x="132" y="54"/>
                  </a:cxn>
                  <a:cxn ang="0">
                    <a:pos x="124" y="55"/>
                  </a:cxn>
                  <a:cxn ang="0">
                    <a:pos x="115" y="56"/>
                  </a:cxn>
                  <a:cxn ang="0">
                    <a:pos x="77" y="55"/>
                  </a:cxn>
                  <a:cxn ang="0">
                    <a:pos x="46" y="53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  <p:sp>
            <p:nvSpPr>
              <p:cNvPr id="426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/>
                <a:ahLst/>
                <a:cxnLst>
                  <a:cxn ang="0">
                    <a:pos x="2931" y="1362"/>
                  </a:cxn>
                  <a:cxn ang="0">
                    <a:pos x="2556" y="1522"/>
                  </a:cxn>
                  <a:cxn ang="0">
                    <a:pos x="2312" y="1592"/>
                  </a:cxn>
                  <a:cxn ang="0">
                    <a:pos x="2294" y="1634"/>
                  </a:cxn>
                  <a:cxn ang="0">
                    <a:pos x="2177" y="1607"/>
                  </a:cxn>
                  <a:cxn ang="0">
                    <a:pos x="2279" y="1512"/>
                  </a:cxn>
                  <a:cxn ang="0">
                    <a:pos x="2166" y="1416"/>
                  </a:cxn>
                  <a:cxn ang="0">
                    <a:pos x="2094" y="1295"/>
                  </a:cxn>
                  <a:cxn ang="0">
                    <a:pos x="1947" y="1317"/>
                  </a:cxn>
                  <a:cxn ang="0">
                    <a:pos x="1771" y="1281"/>
                  </a:cxn>
                  <a:cxn ang="0">
                    <a:pos x="261" y="1235"/>
                  </a:cxn>
                  <a:cxn ang="0">
                    <a:pos x="127" y="1125"/>
                  </a:cxn>
                  <a:cxn ang="0">
                    <a:pos x="151" y="1040"/>
                  </a:cxn>
                  <a:cxn ang="0">
                    <a:pos x="147" y="927"/>
                  </a:cxn>
                  <a:cxn ang="0">
                    <a:pos x="259" y="859"/>
                  </a:cxn>
                  <a:cxn ang="0">
                    <a:pos x="250" y="747"/>
                  </a:cxn>
                  <a:cxn ang="0">
                    <a:pos x="128" y="665"/>
                  </a:cxn>
                  <a:cxn ang="0">
                    <a:pos x="602" y="114"/>
                  </a:cxn>
                  <a:cxn ang="0">
                    <a:pos x="1146" y="105"/>
                  </a:cxn>
                  <a:cxn ang="0">
                    <a:pos x="1296" y="117"/>
                  </a:cxn>
                  <a:cxn ang="0">
                    <a:pos x="1641" y="166"/>
                  </a:cxn>
                  <a:cxn ang="0">
                    <a:pos x="1771" y="206"/>
                  </a:cxn>
                  <a:cxn ang="0">
                    <a:pos x="2076" y="193"/>
                  </a:cxn>
                  <a:cxn ang="0">
                    <a:pos x="2286" y="216"/>
                  </a:cxn>
                  <a:cxn ang="0">
                    <a:pos x="2365" y="216"/>
                  </a:cxn>
                  <a:cxn ang="0">
                    <a:pos x="2518" y="123"/>
                  </a:cxn>
                  <a:cxn ang="0">
                    <a:pos x="2587" y="2"/>
                  </a:cxn>
                  <a:cxn ang="0">
                    <a:pos x="2644" y="105"/>
                  </a:cxn>
                  <a:cxn ang="0">
                    <a:pos x="2664" y="166"/>
                  </a:cxn>
                  <a:cxn ang="0">
                    <a:pos x="2716" y="196"/>
                  </a:cxn>
                  <a:cxn ang="0">
                    <a:pos x="2891" y="121"/>
                  </a:cxn>
                  <a:cxn ang="0">
                    <a:pos x="3036" y="135"/>
                  </a:cxn>
                  <a:cxn ang="0">
                    <a:pos x="2883" y="271"/>
                  </a:cxn>
                  <a:cxn ang="0">
                    <a:pos x="2790" y="289"/>
                  </a:cxn>
                  <a:cxn ang="0">
                    <a:pos x="2569" y="304"/>
                  </a:cxn>
                  <a:cxn ang="0">
                    <a:pos x="2501" y="402"/>
                  </a:cxn>
                  <a:cxn ang="0">
                    <a:pos x="2333" y="471"/>
                  </a:cxn>
                  <a:cxn ang="0">
                    <a:pos x="2087" y="625"/>
                  </a:cxn>
                  <a:cxn ang="0">
                    <a:pos x="2106" y="793"/>
                  </a:cxn>
                  <a:cxn ang="0">
                    <a:pos x="2360" y="907"/>
                  </a:cxn>
                  <a:cxn ang="0">
                    <a:pos x="2443" y="1059"/>
                  </a:cxn>
                  <a:cxn ang="0">
                    <a:pos x="2614" y="987"/>
                  </a:cxn>
                  <a:cxn ang="0">
                    <a:pos x="2848" y="785"/>
                  </a:cxn>
                  <a:cxn ang="0">
                    <a:pos x="2896" y="597"/>
                  </a:cxn>
                  <a:cxn ang="0">
                    <a:pos x="3156" y="500"/>
                  </a:cxn>
                  <a:cxn ang="0">
                    <a:pos x="3276" y="592"/>
                  </a:cxn>
                  <a:cxn ang="0">
                    <a:pos x="3226" y="736"/>
                  </a:cxn>
                  <a:cxn ang="0">
                    <a:pos x="3492" y="613"/>
                  </a:cxn>
                  <a:cxn ang="0">
                    <a:pos x="3545" y="774"/>
                  </a:cxn>
                  <a:cxn ang="0">
                    <a:pos x="3662" y="924"/>
                  </a:cxn>
                  <a:cxn ang="0">
                    <a:pos x="3616" y="961"/>
                  </a:cxn>
                  <a:cxn ang="0">
                    <a:pos x="3694" y="1028"/>
                  </a:cxn>
                  <a:cxn ang="0">
                    <a:pos x="3556" y="1108"/>
                  </a:cxn>
                  <a:cxn ang="0">
                    <a:pos x="3151" y="1168"/>
                  </a:cxn>
                  <a:cxn ang="0">
                    <a:pos x="2853" y="1335"/>
                  </a:cxn>
                  <a:cxn ang="0">
                    <a:pos x="2905" y="1337"/>
                  </a:cxn>
                  <a:cxn ang="0">
                    <a:pos x="3216" y="1256"/>
                  </a:cxn>
                  <a:cxn ang="0">
                    <a:pos x="3066" y="1298"/>
                  </a:cxn>
                  <a:cxn ang="0">
                    <a:pos x="3138" y="1391"/>
                  </a:cxn>
                  <a:cxn ang="0">
                    <a:pos x="3248" y="1473"/>
                  </a:cxn>
                  <a:cxn ang="0">
                    <a:pos x="3018" y="1564"/>
                  </a:cxn>
                  <a:cxn ang="0">
                    <a:pos x="3189" y="1466"/>
                  </a:cxn>
                  <a:cxn ang="0">
                    <a:pos x="3016" y="1484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he-IL"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4100" name="TextBox 551"/>
          <p:cNvSpPr txBox="1">
            <a:spLocks noChangeArrowheads="1"/>
          </p:cNvSpPr>
          <p:nvPr/>
        </p:nvSpPr>
        <p:spPr bwMode="auto">
          <a:xfrm>
            <a:off x="1428750" y="3143250"/>
            <a:ext cx="164306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</a:pP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Μέλος της </a:t>
            </a:r>
            <a:r>
              <a:rPr lang="en-US" altLang="el-GR" sz="1200" b="1" dirty="0">
                <a:latin typeface="Calibri" panose="020F0502020204030204" pitchFamily="34" charset="0"/>
                <a:cs typeface="Tahoma" pitchFamily="34" charset="0"/>
              </a:rPr>
              <a:t>G4S</a:t>
            </a:r>
            <a:endParaRPr lang="el-GR" altLang="el-GR" sz="1200" b="1" dirty="0">
              <a:latin typeface="Calibri" panose="020F0502020204030204" pitchFamily="34" charset="0"/>
              <a:cs typeface="Tahoma" pitchFamily="34" charset="0"/>
            </a:endParaRPr>
          </a:p>
          <a:p>
            <a:pPr>
              <a:lnSpc>
                <a:spcPct val="80000"/>
              </a:lnSpc>
            </a:pP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του παγκόσμιου οργανισμού παροχής ολοκληρωμένων λύσεων ασφαλείας.</a:t>
            </a:r>
          </a:p>
        </p:txBody>
      </p:sp>
      <p:sp>
        <p:nvSpPr>
          <p:cNvPr id="4101" name="TextBox 552"/>
          <p:cNvSpPr txBox="1">
            <a:spLocks noChangeArrowheads="1"/>
          </p:cNvSpPr>
          <p:nvPr/>
        </p:nvSpPr>
        <p:spPr bwMode="auto">
          <a:xfrm>
            <a:off x="1640944" y="1427163"/>
            <a:ext cx="1571625" cy="1717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altLang="el-GR" sz="1200" b="1" dirty="0" smtClean="0">
                <a:latin typeface="Calibri" panose="020F0502020204030204" pitchFamily="34" charset="0"/>
                <a:cs typeface="Tahoma" pitchFamily="34" charset="0"/>
              </a:rPr>
              <a:t>1</a:t>
            </a:r>
            <a:r>
              <a:rPr lang="el-GR" altLang="el-GR" sz="1200" b="1" dirty="0" smtClean="0">
                <a:latin typeface="Calibri" panose="020F0502020204030204" pitchFamily="34" charset="0"/>
                <a:cs typeface="Tahoma" pitchFamily="34" charset="0"/>
              </a:rPr>
              <a:t>1</a:t>
            </a:r>
            <a:r>
              <a:rPr lang="en-US" altLang="el-GR" sz="1200" b="1" dirty="0" smtClean="0">
                <a:latin typeface="Calibri" panose="020F0502020204030204" pitchFamily="34" charset="0"/>
                <a:cs typeface="Tahoma" pitchFamily="34" charset="0"/>
              </a:rPr>
              <a:t>.000</a:t>
            </a:r>
            <a:r>
              <a:rPr lang="en-GB" altLang="el-GR" sz="1200" dirty="0" smtClean="0">
                <a:latin typeface="Calibri" panose="020F0502020204030204" pitchFamily="34" charset="0"/>
                <a:cs typeface="Tahoma" pitchFamily="34" charset="0"/>
              </a:rPr>
              <a:t> </a:t>
            </a: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εγκατεστημένα συστήματα τηλεματικής</a:t>
            </a:r>
            <a:endParaRPr lang="en-GB" altLang="el-GR" sz="1200" dirty="0">
              <a:latin typeface="Calibri" panose="020F0502020204030204" pitchFamily="34" charset="0"/>
              <a:cs typeface="Tahoma" pitchFamily="34" charset="0"/>
            </a:endParaRPr>
          </a:p>
          <a:p>
            <a:pPr algn="r">
              <a:lnSpc>
                <a:spcPct val="80000"/>
              </a:lnSpc>
            </a:pP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Παρέχουμε υπηρεσίες τηλεματικής σε </a:t>
            </a:r>
            <a:r>
              <a:rPr lang="el-GR" altLang="el-GR" sz="1200" dirty="0" smtClean="0">
                <a:latin typeface="Calibri" panose="020F0502020204030204" pitchFamily="34" charset="0"/>
                <a:cs typeface="Tahoma" pitchFamily="34" charset="0"/>
              </a:rPr>
              <a:t>340 </a:t>
            </a: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εταιρίες στην Ελλάδα και σε 10 χώρες στην Ευρώπη. </a:t>
            </a:r>
          </a:p>
          <a:p>
            <a:pPr>
              <a:lnSpc>
                <a:spcPct val="80000"/>
              </a:lnSpc>
            </a:pPr>
            <a:endParaRPr lang="el-GR" altLang="el-GR" sz="12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4102" name="TextBox 553"/>
          <p:cNvSpPr txBox="1">
            <a:spLocks noChangeArrowheads="1"/>
          </p:cNvSpPr>
          <p:nvPr/>
        </p:nvSpPr>
        <p:spPr bwMode="auto">
          <a:xfrm>
            <a:off x="6699250" y="1295400"/>
            <a:ext cx="2143125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</a:pPr>
            <a:r>
              <a:rPr lang="el-GR" altLang="el-GR" sz="1200" dirty="0" smtClean="0">
                <a:latin typeface="Calibri" panose="020F0502020204030204" pitchFamily="34" charset="0"/>
                <a:cs typeface="Tahoma" pitchFamily="34" charset="0"/>
              </a:rPr>
              <a:t>24 ωρο Κέντρο Λήψης Σημάτων και Διαχείρισης Περιστατικών</a:t>
            </a:r>
            <a:endParaRPr lang="en-US" altLang="el-GR" sz="12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4103" name="TextBox 554"/>
          <p:cNvSpPr txBox="1">
            <a:spLocks noChangeArrowheads="1"/>
          </p:cNvSpPr>
          <p:nvPr/>
        </p:nvSpPr>
        <p:spPr bwMode="auto">
          <a:xfrm>
            <a:off x="6715125" y="4292600"/>
            <a:ext cx="21431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</a:pP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Δημιουργούμε, προσφέρουμε και διαχειριζόμαστε ολοκληρωμένες λύσεις και υπηρεσίες που βασίζονται στην </a:t>
            </a:r>
            <a:r>
              <a:rPr lang="el-GR" altLang="el-GR" sz="1200" b="1" dirty="0">
                <a:latin typeface="Calibri" panose="020F0502020204030204" pitchFamily="34" charset="0"/>
                <a:cs typeface="Tahoma" pitchFamily="34" charset="0"/>
              </a:rPr>
              <a:t>Τηλεμετρία</a:t>
            </a: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.</a:t>
            </a:r>
            <a:endParaRPr lang="en-US" altLang="el-GR" sz="12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4104" name="TextBox 555"/>
          <p:cNvSpPr txBox="1">
            <a:spLocks noChangeArrowheads="1"/>
          </p:cNvSpPr>
          <p:nvPr/>
        </p:nvSpPr>
        <p:spPr bwMode="auto">
          <a:xfrm>
            <a:off x="3357563" y="4630738"/>
            <a:ext cx="2336800" cy="683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lnSpc>
                <a:spcPct val="80000"/>
              </a:lnSpc>
            </a:pPr>
            <a:r>
              <a:rPr lang="el-GR" altLang="el-GR" sz="1200" b="1" dirty="0">
                <a:latin typeface="Calibri" panose="020F0502020204030204" pitchFamily="34" charset="0"/>
                <a:cs typeface="Tahoma" pitchFamily="34" charset="0"/>
              </a:rPr>
              <a:t>Συμβουλευτικές υπηρεσίες</a:t>
            </a: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.</a:t>
            </a:r>
          </a:p>
          <a:p>
            <a:pPr>
              <a:lnSpc>
                <a:spcPct val="80000"/>
              </a:lnSpc>
            </a:pP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Πιστοποίηση ασφαλών μεταφορών σύμφωνα με τα διεθνή πρότυπα ασφάλειας </a:t>
            </a:r>
            <a:r>
              <a:rPr lang="en-GB" altLang="el-GR" sz="1200" dirty="0">
                <a:latin typeface="Calibri" panose="020F0502020204030204" pitchFamily="34" charset="0"/>
                <a:cs typeface="Tahoma" pitchFamily="34" charset="0"/>
              </a:rPr>
              <a:t>TAPA</a:t>
            </a:r>
            <a:r>
              <a:rPr lang="el-GR" altLang="el-GR" sz="1200" dirty="0">
                <a:latin typeface="Calibri" panose="020F0502020204030204" pitchFamily="34" charset="0"/>
                <a:cs typeface="Tahoma" pitchFamily="34" charset="0"/>
              </a:rPr>
              <a:t>.</a:t>
            </a:r>
            <a:endParaRPr lang="en-US" altLang="el-GR" sz="12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4105" name="Oval 22"/>
          <p:cNvSpPr>
            <a:spLocks noChangeArrowheads="1"/>
          </p:cNvSpPr>
          <p:nvPr/>
        </p:nvSpPr>
        <p:spPr bwMode="auto">
          <a:xfrm>
            <a:off x="3079750" y="1571625"/>
            <a:ext cx="4159250" cy="273526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el-GR" altLang="el-GR"/>
          </a:p>
        </p:txBody>
      </p:sp>
      <p:sp>
        <p:nvSpPr>
          <p:cNvPr id="4106" name="Oval 23"/>
          <p:cNvSpPr>
            <a:spLocks noChangeArrowheads="1"/>
          </p:cNvSpPr>
          <p:nvPr/>
        </p:nvSpPr>
        <p:spPr bwMode="auto">
          <a:xfrm>
            <a:off x="3468688" y="1643063"/>
            <a:ext cx="4203700" cy="273526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el-GR" altLang="el-GR"/>
          </a:p>
        </p:txBody>
      </p:sp>
      <p:sp>
        <p:nvSpPr>
          <p:cNvPr id="4107" name="Oval 24"/>
          <p:cNvSpPr>
            <a:spLocks noChangeArrowheads="1"/>
          </p:cNvSpPr>
          <p:nvPr/>
        </p:nvSpPr>
        <p:spPr bwMode="auto">
          <a:xfrm>
            <a:off x="3478213" y="1643063"/>
            <a:ext cx="3978275" cy="273526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el-GR" altLang="el-GR"/>
          </a:p>
        </p:txBody>
      </p:sp>
      <p:sp>
        <p:nvSpPr>
          <p:cNvPr id="4108" name="Oval 25"/>
          <p:cNvSpPr>
            <a:spLocks noChangeArrowheads="1"/>
          </p:cNvSpPr>
          <p:nvPr/>
        </p:nvSpPr>
        <p:spPr bwMode="auto">
          <a:xfrm>
            <a:off x="3295650" y="1571625"/>
            <a:ext cx="4159250" cy="2735263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el-GR" altLang="el-GR"/>
          </a:p>
        </p:txBody>
      </p:sp>
      <p:sp>
        <p:nvSpPr>
          <p:cNvPr id="4109" name="Oval 31"/>
          <p:cNvSpPr>
            <a:spLocks noChangeArrowheads="1"/>
          </p:cNvSpPr>
          <p:nvPr/>
        </p:nvSpPr>
        <p:spPr bwMode="auto">
          <a:xfrm>
            <a:off x="3071813" y="1643063"/>
            <a:ext cx="4384675" cy="2735262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endParaRPr lang="el-GR" altLang="el-GR"/>
          </a:p>
        </p:txBody>
      </p:sp>
      <p:pic>
        <p:nvPicPr>
          <p:cNvPr id="4110" name="Picture 20"/>
          <p:cNvPicPr>
            <a:picLocks noChangeAspect="1" noChangeArrowheads="1"/>
          </p:cNvPicPr>
          <p:nvPr/>
        </p:nvPicPr>
        <p:blipFill>
          <a:blip r:embed="rId3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25" y="1428750"/>
            <a:ext cx="936625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1" name="Picture 21"/>
          <p:cNvPicPr>
            <a:picLocks noChangeAspect="1" noChangeArrowheads="1"/>
          </p:cNvPicPr>
          <p:nvPr/>
        </p:nvPicPr>
        <p:blipFill>
          <a:blip r:embed="rId3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685" y="2632868"/>
            <a:ext cx="1223963" cy="117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2" name="Picture 19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313" y="3702050"/>
            <a:ext cx="1000125" cy="92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3" name="Picture 18"/>
          <p:cNvPicPr>
            <a:picLocks noChangeAspect="1" noChangeArrowheads="1"/>
          </p:cNvPicPr>
          <p:nvPr/>
        </p:nvPicPr>
        <p:blipFill>
          <a:blip r:embed="rId3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438" y="1357313"/>
            <a:ext cx="938212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16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3416300"/>
            <a:ext cx="1009650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0439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z="4400" b="1" dirty="0" smtClean="0">
                <a:latin typeface="Calibri" panose="020F0502020204030204" pitchFamily="34" charset="0"/>
              </a:rPr>
              <a:t>Συμπέρασμα</a:t>
            </a:r>
            <a:endParaRPr lang="el-GR" sz="44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620" y="1484784"/>
            <a:ext cx="3459500" cy="2232248"/>
          </a:xfrm>
        </p:spPr>
        <p:txBody>
          <a:bodyPr/>
          <a:lstStyle/>
          <a:p>
            <a:pPr marL="0" indent="0">
              <a:buNone/>
            </a:pPr>
            <a:r>
              <a:rPr lang="el-GR" sz="2400" dirty="0" smtClean="0">
                <a:latin typeface="Calibri" panose="020F0502020204030204" pitchFamily="34" charset="0"/>
              </a:rPr>
              <a:t>Η τεχνολογία έρχεται να υποστηρίξει τον οδηγό δημιουργώντας </a:t>
            </a:r>
            <a:r>
              <a:rPr lang="el-GR" sz="2400" b="1" dirty="0" smtClean="0">
                <a:latin typeface="Calibri" panose="020F0502020204030204" pitchFamily="34" charset="0"/>
              </a:rPr>
              <a:t>κουλτούρα</a:t>
            </a:r>
            <a:r>
              <a:rPr lang="el-GR" sz="2400" dirty="0" smtClean="0">
                <a:latin typeface="Calibri" panose="020F0502020204030204" pitchFamily="34" charset="0"/>
              </a:rPr>
              <a:t> ορθής οδηγικής συμπεριφοράς</a:t>
            </a:r>
            <a:endParaRPr lang="el-GR" sz="2400" dirty="0">
              <a:latin typeface="Calibri" panose="020F0502020204030204" pitchFamily="34" charset="0"/>
            </a:endParaRPr>
          </a:p>
        </p:txBody>
      </p:sp>
      <p:pic>
        <p:nvPicPr>
          <p:cNvPr id="4098" name="Picture 2" descr="https://karengately.files.wordpress.com/2011/12/chan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120" y="1556792"/>
            <a:ext cx="5135360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www.makeafuture.ca/wp-content/uploads/busdriv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645024"/>
            <a:ext cx="3162300" cy="2409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320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34144"/>
            <a:ext cx="8527480" cy="990600"/>
          </a:xfrm>
        </p:spPr>
        <p:txBody>
          <a:bodyPr/>
          <a:lstStyle/>
          <a:p>
            <a:r>
              <a:rPr lang="el-GR" sz="4400" b="1" dirty="0">
                <a:latin typeface="Calibri" panose="020F0502020204030204" pitchFamily="34" charset="0"/>
              </a:rPr>
              <a:t>Καλές και ασφαλείς διαδρομές </a:t>
            </a:r>
            <a:r>
              <a:rPr lang="el-GR" sz="4400" b="1" dirty="0" smtClean="0">
                <a:latin typeface="Calibri" panose="020F0502020204030204" pitchFamily="34" charset="0"/>
              </a:rPr>
              <a:t>!!!</a:t>
            </a:r>
            <a:endParaRPr lang="el-GR" sz="4400" b="1" dirty="0">
              <a:latin typeface="Calibri" panose="020F0502020204030204" pitchFamily="34" charset="0"/>
            </a:endParaRPr>
          </a:p>
        </p:txBody>
      </p:sp>
      <p:pic>
        <p:nvPicPr>
          <p:cNvPr id="5122" name="Picture 2" descr="http://www.imacs.org/filedata/imacsweb2013/_img/kids-hands-u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8784976" cy="4776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5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z="4400" b="1" dirty="0" smtClean="0">
                <a:latin typeface="Calibri" panose="020F0502020204030204" pitchFamily="34" charset="0"/>
              </a:rPr>
              <a:t>Η Ανάγκη</a:t>
            </a:r>
            <a:r>
              <a:rPr lang="en-US" sz="4400" b="1" dirty="0" smtClean="0">
                <a:latin typeface="Calibri" panose="020F0502020204030204" pitchFamily="34" charset="0"/>
              </a:rPr>
              <a:t> </a:t>
            </a:r>
            <a:r>
              <a:rPr lang="el-GR" sz="4400" b="1" dirty="0" smtClean="0">
                <a:latin typeface="Calibri" panose="020F0502020204030204" pitchFamily="34" charset="0"/>
              </a:rPr>
              <a:t>του </a:t>
            </a:r>
            <a:r>
              <a:rPr lang="en-US" sz="4400" b="1" dirty="0" smtClean="0">
                <a:latin typeface="Calibri" panose="020F0502020204030204" pitchFamily="34" charset="0"/>
              </a:rPr>
              <a:t>Eco Driving</a:t>
            </a:r>
            <a:endParaRPr lang="el-GR" sz="4400" b="1" dirty="0"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1650" y="1447800"/>
            <a:ext cx="4646414" cy="4501480"/>
          </a:xfrm>
        </p:spPr>
        <p:txBody>
          <a:bodyPr/>
          <a:lstStyle/>
          <a:p>
            <a:pPr marL="0" indent="0">
              <a:buNone/>
            </a:pPr>
            <a:endParaRPr lang="el-GR" sz="1100" dirty="0"/>
          </a:p>
          <a:p>
            <a:r>
              <a:rPr lang="el-GR" sz="3200" dirty="0" smtClean="0">
                <a:latin typeface="Calibri" panose="020F0502020204030204" pitchFamily="34" charset="0"/>
              </a:rPr>
              <a:t>Μείωση ατυχημάτων στο δρόμο</a:t>
            </a:r>
          </a:p>
          <a:p>
            <a:r>
              <a:rPr lang="el-GR" sz="3200" dirty="0" smtClean="0">
                <a:latin typeface="Calibri" panose="020F0502020204030204" pitchFamily="34" charset="0"/>
              </a:rPr>
              <a:t>Ασφάλεια του οδηγού και των επιβατών</a:t>
            </a:r>
          </a:p>
          <a:p>
            <a:r>
              <a:rPr lang="el-GR" sz="3200" dirty="0" smtClean="0">
                <a:latin typeface="Calibri" panose="020F0502020204030204" pitchFamily="34" charset="0"/>
              </a:rPr>
              <a:t>Πράσινες διαδρομές</a:t>
            </a:r>
          </a:p>
          <a:p>
            <a:r>
              <a:rPr lang="el-GR" sz="3200" dirty="0" smtClean="0">
                <a:latin typeface="Calibri" panose="020F0502020204030204" pitchFamily="34" charset="0"/>
              </a:rPr>
              <a:t>Αύξηση Κοινωνικής υπευθυνότητας</a:t>
            </a:r>
            <a:endParaRPr lang="el-GR" sz="3200" dirty="0">
              <a:latin typeface="Calibri" panose="020F050202020403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5614" y="1556793"/>
            <a:ext cx="2880000" cy="191650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" name="Picture 2" descr="Αποτέλεσμα εικόνας για eco driv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5724" y="4011168"/>
            <a:ext cx="2880000" cy="164848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304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3959" y="1628800"/>
            <a:ext cx="9344471" cy="3246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508000" y="228600"/>
            <a:ext cx="8384480" cy="990600"/>
          </a:xfrm>
        </p:spPr>
        <p:txBody>
          <a:bodyPr/>
          <a:lstStyle/>
          <a:p>
            <a:r>
              <a:rPr lang="el-GR" altLang="el-GR" sz="44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Στατιστικά ατυχημάτων στο δρόμο</a:t>
            </a:r>
          </a:p>
        </p:txBody>
      </p:sp>
      <p:sp>
        <p:nvSpPr>
          <p:cNvPr id="21511" name="Rectangle 29"/>
          <p:cNvSpPr>
            <a:spLocks noChangeArrowheads="1"/>
          </p:cNvSpPr>
          <p:nvPr/>
        </p:nvSpPr>
        <p:spPr bwMode="auto">
          <a:xfrm>
            <a:off x="2062652" y="1923455"/>
            <a:ext cx="48763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l-GR" altLang="el-GR" sz="1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Άλλο</a:t>
            </a:r>
          </a:p>
          <a:p>
            <a:pPr algn="ctr" eaLnBrk="1" hangingPunct="1"/>
            <a:r>
              <a:rPr lang="el-GR" altLang="el-GR" sz="1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7%</a:t>
            </a:r>
            <a:endParaRPr lang="de-DE" altLang="el-GR" sz="18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21513" name="מלבן 10"/>
          <p:cNvSpPr>
            <a:spLocks noChangeArrowheads="1"/>
          </p:cNvSpPr>
          <p:nvPr/>
        </p:nvSpPr>
        <p:spPr bwMode="auto">
          <a:xfrm>
            <a:off x="2145797" y="5013176"/>
            <a:ext cx="590867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l-GR" altLang="el-GR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Το 93</a:t>
            </a:r>
            <a:r>
              <a:rPr lang="en-US" altLang="el-GR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% </a:t>
            </a:r>
            <a:r>
              <a:rPr lang="el-GR" altLang="el-GR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των ατυχημάτων στο δρόμο οφείλονται σε απροσεξία του οδηγού.</a:t>
            </a:r>
            <a:endParaRPr lang="en-US" altLang="el-GR" sz="28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21514" name="מלבן 11"/>
          <p:cNvSpPr>
            <a:spLocks noChangeArrowheads="1"/>
          </p:cNvSpPr>
          <p:nvPr/>
        </p:nvSpPr>
        <p:spPr bwMode="auto">
          <a:xfrm>
            <a:off x="4414366" y="6248490"/>
            <a:ext cx="2101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l-GR" sz="1400" dirty="0"/>
              <a:t>*  Sources: VTRC + NHTSA </a:t>
            </a:r>
          </a:p>
        </p:txBody>
      </p:sp>
      <p:sp>
        <p:nvSpPr>
          <p:cNvPr id="21515" name="Rectangle 26"/>
          <p:cNvSpPr>
            <a:spLocks noChangeArrowheads="1"/>
          </p:cNvSpPr>
          <p:nvPr/>
        </p:nvSpPr>
        <p:spPr bwMode="auto">
          <a:xfrm>
            <a:off x="1187624" y="3529697"/>
            <a:ext cx="273526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l-GR" altLang="el-GR" sz="1800" b="1" dirty="0" smtClean="0">
                <a:latin typeface="Calibri" pitchFamily="34" charset="0"/>
              </a:rPr>
              <a:t>93% Ανθρώπινος παράγοντας</a:t>
            </a:r>
            <a:endParaRPr lang="de-DE" altLang="el-GR" sz="1800" b="1" dirty="0"/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auto">
          <a:xfrm>
            <a:off x="6228184" y="2477453"/>
            <a:ext cx="9015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l-GR" altLang="el-GR" sz="1800" b="1" dirty="0" smtClean="0">
                <a:solidFill>
                  <a:schemeClr val="bg1"/>
                </a:solidFill>
                <a:latin typeface="Calibri" pitchFamily="34" charset="0"/>
              </a:rPr>
              <a:t>Άλλο</a:t>
            </a:r>
            <a:r>
              <a:rPr lang="en-US" altLang="el-GR" sz="18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el-GR" altLang="el-GR" sz="1800" b="1" dirty="0">
                <a:solidFill>
                  <a:schemeClr val="bg1"/>
                </a:solidFill>
                <a:latin typeface="Calibri" pitchFamily="34" charset="0"/>
              </a:rPr>
              <a:t>20% </a:t>
            </a:r>
            <a:endParaRPr lang="en-US" altLang="el-GR" sz="18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Rectangle 38"/>
          <p:cNvSpPr>
            <a:spLocks noChangeArrowheads="1"/>
          </p:cNvSpPr>
          <p:nvPr/>
        </p:nvSpPr>
        <p:spPr bwMode="auto">
          <a:xfrm>
            <a:off x="6502598" y="3119715"/>
            <a:ext cx="1597794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de-DE" altLang="el-GR" sz="1800" b="1" dirty="0">
                <a:latin typeface="Calibri" pitchFamily="34" charset="0"/>
              </a:rPr>
              <a:t>80% </a:t>
            </a:r>
          </a:p>
          <a:p>
            <a:pPr algn="ctr" eaLnBrk="1" hangingPunct="1"/>
            <a:r>
              <a:rPr lang="de-DE" altLang="el-GR" sz="1800" b="1" dirty="0">
                <a:latin typeface="Calibri" pitchFamily="34" charset="0"/>
              </a:rPr>
              <a:t>3 </a:t>
            </a:r>
            <a:r>
              <a:rPr lang="el-GR" altLang="el-GR" sz="1800" b="1" dirty="0" smtClean="0">
                <a:latin typeface="Calibri" pitchFamily="34" charset="0"/>
              </a:rPr>
              <a:t>δευτερόλεπτα </a:t>
            </a:r>
          </a:p>
          <a:p>
            <a:pPr algn="ctr" eaLnBrk="1" hangingPunct="1"/>
            <a:r>
              <a:rPr lang="el-GR" altLang="el-GR" sz="1800" b="1" dirty="0" smtClean="0">
                <a:latin typeface="Calibri" pitchFamily="34" charset="0"/>
              </a:rPr>
              <a:t>έλλειψη </a:t>
            </a:r>
          </a:p>
          <a:p>
            <a:pPr algn="ctr" eaLnBrk="1" hangingPunct="1"/>
            <a:r>
              <a:rPr lang="el-GR" altLang="el-GR" sz="1800" b="1" dirty="0" smtClean="0">
                <a:latin typeface="Calibri" pitchFamily="34" charset="0"/>
              </a:rPr>
              <a:t>προσοχής</a:t>
            </a:r>
            <a:endParaRPr lang="de-DE" altLang="el-GR" sz="1800" b="1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77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683568" y="1484784"/>
            <a:ext cx="8247856" cy="3240360"/>
            <a:chOff x="0" y="0"/>
            <a:chExt cx="2776" cy="2091"/>
          </a:xfrm>
        </p:grpSpPr>
        <p:sp>
          <p:nvSpPr>
            <p:cNvPr id="93196" name="Rectangle 12"/>
            <p:cNvSpPr>
              <a:spLocks/>
            </p:cNvSpPr>
            <p:nvPr/>
          </p:nvSpPr>
          <p:spPr bwMode="auto">
            <a:xfrm>
              <a:off x="1637" y="625"/>
              <a:ext cx="1139" cy="498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40640" bIns="0">
              <a:prstTxWarp prst="textNoShape">
                <a:avLst/>
              </a:prstTxWarp>
            </a:bodyPr>
            <a:lstStyle/>
            <a:p>
              <a:pPr marL="39688" algn="l">
                <a:lnSpc>
                  <a:spcPct val="200000"/>
                </a:lnSpc>
              </a:pPr>
              <a:r>
                <a:rPr lang="en-US" sz="1000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  <a:sym typeface="Arial" charset="0"/>
                </a:rPr>
                <a:t>Crossing accidents</a:t>
              </a:r>
            </a:p>
            <a:p>
              <a:pPr marL="39688" algn="l">
                <a:lnSpc>
                  <a:spcPct val="200000"/>
                </a:lnSpc>
              </a:pPr>
              <a:r>
                <a:rPr lang="en-US" sz="1000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  <a:sym typeface="Arial" charset="0"/>
                </a:rPr>
                <a:t>Col. with oncoming traffic</a:t>
              </a:r>
            </a:p>
            <a:p>
              <a:pPr marL="39688" algn="l">
                <a:lnSpc>
                  <a:spcPct val="200000"/>
                </a:lnSpc>
              </a:pPr>
              <a:r>
                <a:rPr lang="en-US" sz="1000" dirty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  <a:sym typeface="Arial" charset="0"/>
                </a:rPr>
                <a:t>Rear end accidents</a:t>
              </a:r>
            </a:p>
          </p:txBody>
        </p:sp>
        <p:pic>
          <p:nvPicPr>
            <p:cNvPr id="93195" name="Picture 11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0"/>
              <a:ext cx="2675" cy="2091"/>
            </a:xfrm>
            <a:prstGeom prst="rect">
              <a:avLst/>
            </a:prstGeom>
            <a:noFill/>
            <a:ln w="9525" cap="flat">
              <a:noFill/>
              <a:miter lim="800000"/>
              <a:headEnd/>
              <a:tailEnd/>
            </a:ln>
          </p:spPr>
        </p:pic>
      </p:grpSp>
      <p:sp>
        <p:nvSpPr>
          <p:cNvPr id="12" name="כותרת משנה 2"/>
          <p:cNvSpPr>
            <a:spLocks noGrp="1"/>
          </p:cNvSpPr>
          <p:nvPr>
            <p:ph idx="1"/>
          </p:nvPr>
        </p:nvSpPr>
        <p:spPr>
          <a:xfrm>
            <a:off x="395536" y="5085184"/>
            <a:ext cx="8352928" cy="954852"/>
          </a:xfrm>
        </p:spPr>
        <p:txBody>
          <a:bodyPr>
            <a:noAutofit/>
          </a:bodyPr>
          <a:lstStyle/>
          <a:p>
            <a:pPr marL="0" indent="0" algn="ctr" rtl="0">
              <a:buNone/>
            </a:pPr>
            <a:r>
              <a:rPr lang="el-GR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Η έγκαιρη αντίδραση </a:t>
            </a:r>
            <a:r>
              <a:rPr lang="en-US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1.5 </a:t>
            </a:r>
            <a:r>
              <a:rPr lang="el-GR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δευτερόλεπτο πριν την πρόσκρουση μπορεί να αποτρέψει το ατύχημα σε ποσοστό </a:t>
            </a:r>
            <a:r>
              <a:rPr lang="en-US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90</a:t>
            </a:r>
            <a:r>
              <a:rPr lang="el-GR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% </a:t>
            </a:r>
            <a:r>
              <a:rPr lang="en-US" b="1" dirty="0" smtClean="0">
                <a:solidFill>
                  <a:srgbClr val="FF0000"/>
                </a:solidFill>
                <a:latin typeface="Calibri" panose="020F0502020204030204" pitchFamily="34" charset="0"/>
                <a:cs typeface="Arial" pitchFamily="34" charset="0"/>
              </a:rPr>
              <a:t>!</a:t>
            </a:r>
            <a:endParaRPr lang="he-IL" b="1" dirty="0">
              <a:solidFill>
                <a:srgbClr val="FF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3188" name="Rectangle 4"/>
          <p:cNvSpPr>
            <a:spLocks/>
          </p:cNvSpPr>
          <p:nvPr/>
        </p:nvSpPr>
        <p:spPr bwMode="auto">
          <a:xfrm>
            <a:off x="4862830" y="4451350"/>
            <a:ext cx="2590800" cy="241300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40640" bIns="0" anchor="ctr">
            <a:prstTxWarp prst="textNoShape">
              <a:avLst/>
            </a:prstTxWarp>
          </a:bodyPr>
          <a:lstStyle/>
          <a:p>
            <a:pPr marL="39688" algn="r"/>
            <a:r>
              <a:rPr lang="en-US" sz="900" dirty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  <a:sym typeface="Calibri" charset="0"/>
              </a:rPr>
              <a:t>04/13/10</a:t>
            </a:r>
          </a:p>
        </p:txBody>
      </p:sp>
      <p:pic>
        <p:nvPicPr>
          <p:cNvPr id="93191" name="Picture 7"/>
          <p:cNvPicPr>
            <a:picLocks noChangeArrowheads="1"/>
          </p:cNvPicPr>
          <p:nvPr/>
        </p:nvPicPr>
        <p:blipFill>
          <a:blip r:embed="rId3" cstate="print"/>
          <a:srcRect l="79277"/>
          <a:stretch>
            <a:fillRect/>
          </a:stretch>
        </p:blipFill>
        <p:spPr bwMode="auto">
          <a:xfrm>
            <a:off x="179512" y="116632"/>
            <a:ext cx="1439862" cy="1387475"/>
          </a:xfrm>
          <a:prstGeom prst="rect">
            <a:avLst/>
          </a:prstGeom>
          <a:noFill/>
          <a:ln w="9525" cap="flat">
            <a:noFill/>
            <a:miter lim="800000"/>
            <a:headEnd/>
            <a:tailEnd/>
          </a:ln>
        </p:spPr>
      </p:pic>
      <p:sp>
        <p:nvSpPr>
          <p:cNvPr id="93192" name="Rectangle 8"/>
          <p:cNvSpPr>
            <a:spLocks/>
          </p:cNvSpPr>
          <p:nvPr/>
        </p:nvSpPr>
        <p:spPr bwMode="auto">
          <a:xfrm>
            <a:off x="2654300" y="1340768"/>
            <a:ext cx="6489700" cy="774700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40640" bIns="0">
            <a:prstTxWarp prst="textNoShape">
              <a:avLst/>
            </a:prstTxWarp>
          </a:bodyPr>
          <a:lstStyle/>
          <a:p>
            <a:pPr marL="39688" algn="l"/>
            <a:r>
              <a:rPr lang="el-GR" sz="2000" i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Τον Φεβρουάριο του </a:t>
            </a:r>
            <a:r>
              <a:rPr lang="en-US" sz="2000" i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2009</a:t>
            </a:r>
            <a:r>
              <a:rPr lang="en-US" sz="2000" i="1" dirty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, </a:t>
            </a:r>
            <a:r>
              <a:rPr lang="el-GR" sz="2000" i="1" dirty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η</a:t>
            </a:r>
            <a:r>
              <a:rPr lang="el-GR" sz="2000" i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 Ελβετική ασφαλιστική εταιρία </a:t>
            </a:r>
            <a:r>
              <a:rPr lang="en-US" sz="2000" i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AXA </a:t>
            </a:r>
            <a:r>
              <a:rPr lang="en-US" sz="2000" i="1" dirty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Winterthur </a:t>
            </a:r>
            <a:r>
              <a:rPr lang="el-GR" sz="2000" i="1" dirty="0" smtClean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διεξήγαγε μια μελέτη σχετικά με την σχέση του ατυχήματος και της αιτίας που το προκάλεσε</a:t>
            </a:r>
            <a:r>
              <a:rPr lang="en-US" sz="2000" i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. </a:t>
            </a:r>
            <a:endParaRPr lang="en-US" sz="2000" i="1" dirty="0">
              <a:solidFill>
                <a:schemeClr val="tx1"/>
              </a:solidFill>
              <a:latin typeface="Calibri" panose="020F0502020204030204" pitchFamily="34" charset="0"/>
              <a:ea typeface="Arial" charset="0"/>
              <a:cs typeface="Arial" charset="0"/>
              <a:sym typeface="Arial" charset="0"/>
            </a:endParaRPr>
          </a:p>
        </p:txBody>
      </p:sp>
      <p:sp>
        <p:nvSpPr>
          <p:cNvPr id="93197" name="Rectangle 13"/>
          <p:cNvSpPr>
            <a:spLocks/>
          </p:cNvSpPr>
          <p:nvPr/>
        </p:nvSpPr>
        <p:spPr bwMode="auto">
          <a:xfrm rot="16200000">
            <a:off x="-559048" y="3205528"/>
            <a:ext cx="2618217" cy="276999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wrap="none" lIns="0" tIns="0" rIns="40640" bIns="0">
            <a:prstTxWarp prst="textNoShape">
              <a:avLst/>
            </a:prstTxWarp>
            <a:spAutoFit/>
          </a:bodyPr>
          <a:lstStyle/>
          <a:p>
            <a:pPr marL="39688" algn="l"/>
            <a:r>
              <a:rPr lang="el-GR" sz="1800" b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Πιθανότητα Πρόσκρουσης</a:t>
            </a: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ea typeface="Arial" charset="0"/>
              <a:cs typeface="Arial" charset="0"/>
              <a:sym typeface="Arial" charset="0"/>
            </a:endParaRPr>
          </a:p>
        </p:txBody>
      </p:sp>
      <p:sp>
        <p:nvSpPr>
          <p:cNvPr id="93198" name="Rectangle 14"/>
          <p:cNvSpPr>
            <a:spLocks/>
          </p:cNvSpPr>
          <p:nvPr/>
        </p:nvSpPr>
        <p:spPr bwMode="auto">
          <a:xfrm>
            <a:off x="6247659" y="4776481"/>
            <a:ext cx="2411942" cy="276999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wrap="none" lIns="0" tIns="0" rIns="40640" bIns="0">
            <a:prstTxWarp prst="textNoShape">
              <a:avLst/>
            </a:prstTxWarp>
            <a:spAutoFit/>
          </a:bodyPr>
          <a:lstStyle/>
          <a:p>
            <a:pPr marL="39688" algn="l"/>
            <a:r>
              <a:rPr lang="el-GR" sz="1800" b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Έγκαιρη Προειδοποίηση</a:t>
            </a: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ea typeface="Arial" charset="0"/>
              <a:cs typeface="Arial" charset="0"/>
              <a:sym typeface="Arial" charset="0"/>
            </a:endParaRPr>
          </a:p>
        </p:txBody>
      </p:sp>
      <p:sp>
        <p:nvSpPr>
          <p:cNvPr id="11" name="Rectangle 13"/>
          <p:cNvSpPr>
            <a:spLocks/>
          </p:cNvSpPr>
          <p:nvPr/>
        </p:nvSpPr>
        <p:spPr bwMode="auto">
          <a:xfrm>
            <a:off x="5547307" y="2564904"/>
            <a:ext cx="3038460" cy="73866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wrap="none" lIns="0" tIns="0" rIns="40640" bIns="0">
            <a:prstTxWarp prst="textNoShape">
              <a:avLst/>
            </a:prstTxWarp>
            <a:spAutoFit/>
          </a:bodyPr>
          <a:lstStyle/>
          <a:p>
            <a:pPr marL="39688"/>
            <a:r>
              <a:rPr lang="el-GR" sz="1600" b="1" dirty="0" smtClean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Ατυχήματα </a:t>
            </a:r>
            <a:r>
              <a:rPr lang="el-GR" sz="1600" b="1" dirty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σε ισόπεδες </a:t>
            </a:r>
            <a:r>
              <a:rPr lang="el-GR" sz="1600" b="1" dirty="0" smtClean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διαβάσεις</a:t>
            </a:r>
          </a:p>
          <a:p>
            <a:pPr marL="39688"/>
            <a:r>
              <a:rPr lang="el-GR" sz="1600" b="1" dirty="0" smtClean="0">
                <a:solidFill>
                  <a:schemeClr val="tx1"/>
                </a:solidFill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Τροχαία ατυχήματα</a:t>
            </a:r>
            <a:endParaRPr lang="el-GR" sz="1600" b="1" dirty="0">
              <a:solidFill>
                <a:schemeClr val="tx1"/>
              </a:solidFill>
              <a:latin typeface="Calibri" panose="020F0502020204030204" pitchFamily="34" charset="0"/>
              <a:ea typeface="Arial" charset="0"/>
              <a:cs typeface="Arial" charset="0"/>
              <a:sym typeface="Arial" charset="0"/>
            </a:endParaRPr>
          </a:p>
          <a:p>
            <a:pPr marL="39688"/>
            <a:r>
              <a:rPr lang="el-GR" sz="1600" b="1" dirty="0" smtClean="0">
                <a:latin typeface="Calibri" panose="020F0502020204030204" pitchFamily="34" charset="0"/>
                <a:ea typeface="Arial" charset="0"/>
                <a:cs typeface="Arial" charset="0"/>
                <a:sym typeface="Arial" charset="0"/>
              </a:rPr>
              <a:t>Οπίσθιες συγκρούσεις</a:t>
            </a:r>
          </a:p>
        </p:txBody>
      </p:sp>
      <p:sp>
        <p:nvSpPr>
          <p:cNvPr id="3" name="Rectangle 2"/>
          <p:cNvSpPr/>
          <p:nvPr/>
        </p:nvSpPr>
        <p:spPr>
          <a:xfrm>
            <a:off x="1782369" y="519063"/>
            <a:ext cx="73616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altLang="el-GR" sz="3600" b="1" dirty="0">
                <a:latin typeface="Calibri" panose="020F0502020204030204" pitchFamily="34" charset="0"/>
              </a:rPr>
              <a:t>Στατιστικά ατυχημάτων στο δρόμο</a:t>
            </a:r>
            <a:endParaRPr lang="el-GR" sz="36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33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1823052733"/>
              </p:ext>
            </p:extLst>
          </p:nvPr>
        </p:nvGraphicFramePr>
        <p:xfrm>
          <a:off x="2116288" y="2361050"/>
          <a:ext cx="6048672" cy="3516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Title 1"/>
          <p:cNvSpPr txBox="1">
            <a:spLocks/>
          </p:cNvSpPr>
          <p:nvPr/>
        </p:nvSpPr>
        <p:spPr>
          <a:xfrm>
            <a:off x="539552" y="188640"/>
            <a:ext cx="822960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4400" b="1" noProof="0" dirty="0" smtClean="0">
                <a:latin typeface="Calibri" panose="020F0502020204030204" pitchFamily="34" charset="0"/>
              </a:rPr>
              <a:t>Η Εξέλιξη της Τηλεματικής</a:t>
            </a:r>
            <a:endParaRPr kumimoji="0" lang="he-IL" sz="4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5576" y="4854501"/>
            <a:ext cx="867566" cy="82767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79126" y="4040773"/>
            <a:ext cx="876097" cy="7984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43222" y="3313400"/>
            <a:ext cx="936104" cy="8057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23542" y="1721739"/>
            <a:ext cx="936104" cy="776653"/>
          </a:xfrm>
          <a:prstGeom prst="roundRect">
            <a:avLst>
              <a:gd name="adj" fmla="val 16667"/>
            </a:avLst>
          </a:prstGeom>
          <a:ln w="28575">
            <a:solidFill>
              <a:srgbClr val="00B050"/>
            </a:solidFill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3" name="Picture 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351334" y="2729851"/>
            <a:ext cx="831417" cy="74614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4" name="Picture 7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87438" y="2153787"/>
            <a:ext cx="853186" cy="740924"/>
          </a:xfrm>
          <a:prstGeom prst="roundRect">
            <a:avLst>
              <a:gd name="adj" fmla="val 16667"/>
            </a:avLst>
          </a:prstGeom>
          <a:ln w="25400">
            <a:solidFill>
              <a:srgbClr val="00B050"/>
            </a:solidFill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5" name="Picture 8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03662" y="1526873"/>
            <a:ext cx="904561" cy="747142"/>
          </a:xfrm>
          <a:prstGeom prst="roundRect">
            <a:avLst>
              <a:gd name="adj" fmla="val 16667"/>
            </a:avLst>
          </a:prstGeom>
          <a:ln w="28575">
            <a:solidFill>
              <a:srgbClr val="00B050"/>
            </a:solidFill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26" name="Picture 9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383782" y="1505120"/>
            <a:ext cx="864096" cy="720675"/>
          </a:xfrm>
          <a:prstGeom prst="roundRect">
            <a:avLst>
              <a:gd name="adj" fmla="val 16667"/>
            </a:avLst>
          </a:prstGeom>
          <a:ln w="28575">
            <a:solidFill>
              <a:srgbClr val="00B050"/>
            </a:solidFill>
          </a:ln>
          <a:effectLst>
            <a:outerShdw blurRad="3175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" name="Rectangle 1"/>
          <p:cNvSpPr/>
          <p:nvPr/>
        </p:nvSpPr>
        <p:spPr>
          <a:xfrm rot="20527479">
            <a:off x="4011926" y="3491377"/>
            <a:ext cx="3911011" cy="923330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r>
              <a:rPr lang="en-US" sz="2800" b="1" cap="none" spc="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Telematics Evolution</a:t>
            </a:r>
            <a:endParaRPr lang="en-US" sz="2800" b="1" cap="none" spc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19878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http://ismsecurity.co.za/wp-content/uploads/2012/11/cell-tower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850" y="1242156"/>
            <a:ext cx="1128098" cy="112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altLang="el-GR" sz="4400" b="1" dirty="0" smtClean="0">
                <a:latin typeface="Calibri" panose="020F0502020204030204" pitchFamily="34" charset="0"/>
                <a:cs typeface="Tahoma" pitchFamily="34" charset="0"/>
              </a:rPr>
              <a:t>Η τεχνολογία πίσω από τη λύση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7236296" y="1936793"/>
            <a:ext cx="321857" cy="1420199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 bwMode="auto">
          <a:xfrm>
            <a:off x="4116834" y="3332219"/>
            <a:ext cx="622300" cy="622187"/>
          </a:xfrm>
          <a:prstGeom prst="ellipse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en-US" sz="3200" dirty="0">
                <a:solidFill>
                  <a:schemeClr val="tx1"/>
                </a:solidFill>
              </a:rPr>
              <a:t>2</a:t>
            </a:r>
            <a:endParaRPr lang="he-IL" sz="3200" dirty="0">
              <a:solidFill>
                <a:schemeClr val="tx1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2843808" y="1719672"/>
            <a:ext cx="1532281" cy="39788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/>
          <p:nvPr/>
        </p:nvSpPr>
        <p:spPr bwMode="auto">
          <a:xfrm>
            <a:off x="4652504" y="1322510"/>
            <a:ext cx="612781" cy="614283"/>
          </a:xfrm>
          <a:prstGeom prst="ellipse">
            <a:avLst/>
          </a:prstGeom>
          <a:solidFill>
            <a:srgbClr val="FFC000"/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en-US" sz="3200" dirty="0">
                <a:solidFill>
                  <a:schemeClr val="tx1"/>
                </a:solidFill>
              </a:rPr>
              <a:t>3</a:t>
            </a:r>
            <a:endParaRPr lang="he-IL" sz="3200" dirty="0">
              <a:solidFill>
                <a:schemeClr val="tx1"/>
              </a:solidFill>
            </a:endParaRPr>
          </a:p>
        </p:txBody>
      </p:sp>
      <p:pic>
        <p:nvPicPr>
          <p:cNvPr id="615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3109" y="3913728"/>
            <a:ext cx="428625" cy="1233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58" name="Group 54"/>
          <p:cNvGrpSpPr>
            <a:grpSpLocks/>
          </p:cNvGrpSpPr>
          <p:nvPr/>
        </p:nvGrpSpPr>
        <p:grpSpPr bwMode="auto">
          <a:xfrm>
            <a:off x="6944199" y="3405738"/>
            <a:ext cx="1428750" cy="1428750"/>
            <a:chOff x="6786578" y="3786190"/>
            <a:chExt cx="1428760" cy="1428760"/>
          </a:xfrm>
        </p:grpSpPr>
        <p:pic>
          <p:nvPicPr>
            <p:cNvPr id="6173" name="Picture 2" descr="http://t0.gstatic.com/images?q=tbn:4PvQhaOC4PJyDM:http://www.pctorque.com/images/products/4760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6578" y="3786190"/>
              <a:ext cx="1428760" cy="1428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74" name="Picture 19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37" b="14766"/>
            <a:stretch>
              <a:fillRect/>
            </a:stretch>
          </p:blipFill>
          <p:spPr bwMode="auto">
            <a:xfrm rot="-407527">
              <a:off x="6888541" y="3987860"/>
              <a:ext cx="939282" cy="571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" name="Oval 19"/>
          <p:cNvSpPr/>
          <p:nvPr/>
        </p:nvSpPr>
        <p:spPr bwMode="auto">
          <a:xfrm>
            <a:off x="395536" y="1494853"/>
            <a:ext cx="623893" cy="622702"/>
          </a:xfrm>
          <a:prstGeom prst="ellipse">
            <a:avLst/>
          </a:prstGeom>
          <a:solidFill>
            <a:srgbClr val="FFC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en-US" sz="3200" dirty="0">
                <a:solidFill>
                  <a:schemeClr val="tx1"/>
                </a:solidFill>
              </a:rPr>
              <a:t>1</a:t>
            </a:r>
            <a:endParaRPr lang="he-IL" sz="3200" dirty="0">
              <a:solidFill>
                <a:schemeClr val="tx1"/>
              </a:solidFill>
            </a:endParaRPr>
          </a:p>
        </p:txBody>
      </p:sp>
      <p:sp>
        <p:nvSpPr>
          <p:cNvPr id="22" name="Oval 21"/>
          <p:cNvSpPr/>
          <p:nvPr/>
        </p:nvSpPr>
        <p:spPr bwMode="auto">
          <a:xfrm>
            <a:off x="6111498" y="3391191"/>
            <a:ext cx="622300" cy="622186"/>
          </a:xfrm>
          <a:prstGeom prst="ellipse">
            <a:avLst/>
          </a:prstGeom>
          <a:solidFill>
            <a:srgbClr val="FFC000"/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en-US" sz="3200" dirty="0">
                <a:solidFill>
                  <a:schemeClr val="tx1"/>
                </a:solidFill>
              </a:rPr>
              <a:t>4</a:t>
            </a:r>
            <a:endParaRPr lang="he-IL" sz="3200" dirty="0">
              <a:solidFill>
                <a:schemeClr val="tx1"/>
              </a:solidFill>
            </a:endParaRPr>
          </a:p>
        </p:txBody>
      </p:sp>
      <p:sp>
        <p:nvSpPr>
          <p:cNvPr id="6169" name="TextBox 24"/>
          <p:cNvSpPr txBox="1">
            <a:spLocks noChangeArrowheads="1"/>
          </p:cNvSpPr>
          <p:nvPr/>
        </p:nvSpPr>
        <p:spPr bwMode="auto">
          <a:xfrm>
            <a:off x="1019429" y="1287384"/>
            <a:ext cx="1898086" cy="112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l-GR" altLang="el-GR" sz="1400" dirty="0">
                <a:latin typeface="Calibri" panose="020F0502020204030204" pitchFamily="34" charset="0"/>
                <a:cs typeface="Tahoma" pitchFamily="34" charset="0"/>
              </a:rPr>
              <a:t>Τοποθέτηση </a:t>
            </a: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συστήματος πρόληψης ατυχημάτων και οδηγικής συμπεριφοράς στο όχημα.</a:t>
            </a:r>
            <a:endParaRPr lang="el-GR" altLang="el-GR" sz="14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6170" name="TextBox 28"/>
          <p:cNvSpPr txBox="1">
            <a:spLocks noChangeArrowheads="1"/>
          </p:cNvSpPr>
          <p:nvPr/>
        </p:nvSpPr>
        <p:spPr bwMode="auto">
          <a:xfrm>
            <a:off x="4108871" y="4115591"/>
            <a:ext cx="2047305" cy="7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Σύστημα άμεσης ενημέρωσης του οδηγού για μη ορθολογική – επικίνδυνη οδήγηση.</a:t>
            </a:r>
            <a:endParaRPr lang="el-GR" altLang="el-GR" sz="14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6171" name="TextBox 29"/>
          <p:cNvSpPr txBox="1">
            <a:spLocks noChangeArrowheads="1"/>
          </p:cNvSpPr>
          <p:nvPr/>
        </p:nvSpPr>
        <p:spPr bwMode="auto">
          <a:xfrm>
            <a:off x="6234052" y="1335803"/>
            <a:ext cx="2004488" cy="781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Μετάδοση των συμβάντων και </a:t>
            </a:r>
            <a:r>
              <a:rPr lang="el-GR" altLang="el-GR" sz="1400" dirty="0">
                <a:latin typeface="Calibri" panose="020F0502020204030204" pitchFamily="34" charset="0"/>
                <a:cs typeface="Tahoma" pitchFamily="34" charset="0"/>
              </a:rPr>
              <a:t>στοιχείων του οχήματος μέσω </a:t>
            </a:r>
            <a:r>
              <a:rPr lang="en-US" altLang="el-GR" sz="1400" dirty="0">
                <a:latin typeface="Calibri" panose="020F0502020204030204" pitchFamily="34" charset="0"/>
                <a:cs typeface="Tahoma" pitchFamily="34" charset="0"/>
              </a:rPr>
              <a:t>GPRS</a:t>
            </a:r>
            <a:r>
              <a:rPr lang="el-GR" altLang="el-GR" sz="1400" dirty="0">
                <a:latin typeface="Calibri" panose="020F0502020204030204" pitchFamily="34" charset="0"/>
                <a:cs typeface="Tahoma" pitchFamily="34" charset="0"/>
              </a:rPr>
              <a:t>.</a:t>
            </a:r>
          </a:p>
        </p:txBody>
      </p:sp>
      <p:sp>
        <p:nvSpPr>
          <p:cNvPr id="6172" name="TextBox 30"/>
          <p:cNvSpPr txBox="1">
            <a:spLocks noChangeArrowheads="1"/>
          </p:cNvSpPr>
          <p:nvPr/>
        </p:nvSpPr>
        <p:spPr bwMode="auto">
          <a:xfrm>
            <a:off x="6497948" y="4775696"/>
            <a:ext cx="2303955" cy="609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Καταγραφή συμβάντων και απεικόνιση αναφορών επίδοσης και προόδου.</a:t>
            </a:r>
            <a:endParaRPr lang="el-GR" altLang="el-GR" sz="1400" dirty="0">
              <a:latin typeface="Calibri" panose="020F0502020204030204" pitchFamily="34" charset="0"/>
              <a:cs typeface="Tahoma" pitchFamily="34" charset="0"/>
            </a:endParaRPr>
          </a:p>
        </p:txBody>
      </p:sp>
      <p:sp>
        <p:nvSpPr>
          <p:cNvPr id="21" name="object 20"/>
          <p:cNvSpPr/>
          <p:nvPr/>
        </p:nvSpPr>
        <p:spPr>
          <a:xfrm>
            <a:off x="1972636" y="2467241"/>
            <a:ext cx="944879" cy="6309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91080" y="2297622"/>
            <a:ext cx="1161288" cy="134569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object 26"/>
          <p:cNvSpPr/>
          <p:nvPr/>
        </p:nvSpPr>
        <p:spPr>
          <a:xfrm rot="5400000">
            <a:off x="1579062" y="2379156"/>
            <a:ext cx="166878" cy="62026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Circular Arrow 16"/>
          <p:cNvSpPr/>
          <p:nvPr/>
        </p:nvSpPr>
        <p:spPr>
          <a:xfrm rot="16736273" flipH="1">
            <a:off x="2391588" y="3116680"/>
            <a:ext cx="1731985" cy="2046283"/>
          </a:xfrm>
          <a:prstGeom prst="circularArrow">
            <a:avLst>
              <a:gd name="adj1" fmla="val 5533"/>
              <a:gd name="adj2" fmla="val 742807"/>
              <a:gd name="adj3" fmla="val 16225820"/>
              <a:gd name="adj4" fmla="val 8467628"/>
              <a:gd name="adj5" fmla="val 8933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schemeClr val="tx1"/>
              </a:solidFill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2843808" y="2204864"/>
            <a:ext cx="1177050" cy="98973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255" y="4132658"/>
            <a:ext cx="2409825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utoShape 2" descr="Αποτέλεσμα εικόνας για mobiley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sp>
        <p:nvSpPr>
          <p:cNvPr id="4" name="AutoShape 4" descr="Αποτέλεσμα εικόνας για mobiley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sp>
        <p:nvSpPr>
          <p:cNvPr id="6" name="AutoShape 6" descr="data:image/jpeg;base64,/9j/4AAQSkZJRgABAQAAAQABAAD/2wCEAAkGBxQSEBQQEBIVFRQUEBQUFhQUFBYQFxUcFRQWGBQXFxUYHCggGRolHBcVLTEiJSkrLi8vFx82ODMsNygtLiwBCgoKDg0OFxAQGSwkICUsLCwsLC8rLC0sLCwsLCwsLCwsLCwsLCwsLCwsMCwsLCwsLCwsLCwuLCwsLCwsLCwsLP/AABEIAL0BCgMBEQACEQEDEQH/xAAcAAEAAQUBAQAAAAAAAAAAAAAABwEDBAUGCAL/xABMEAABAwIDBAcDBQsKBwEAAAABAAIDBBEFEiEGBzFBEyJRYXGBkTJCoQgUUrHBFSMzNWJygpKys9FDU2N0dZOiw+HwFyQlNLTC8Rb/xAAbAQEBAQEBAQEBAAAAAAAAAAAAAQIDBQQGB//EADMRAQACAgEDAwEECgIDAAAAAAABAgMRBBIhMQVBUXEVkcHhBhMiQmFigaGx0TLwFDNS/9oADAMBAAIRAxEAPwCcUBAQEBAQEBAQEBAQEBAQRbJvnjucmH1bhfQlmU+YANvVXTPVPwrFvmj9/D6to7QzMfIWH1po6pSex1wCOYv6qNPpAQEBAQEBAQEBAQEBAQEFEFUBAQEBAQEBAQEBBQlBwe1G9ihpCY43GplGmSGxaD+VKeqPAXI7FYrtmbRCMMd30V0txAYqVvLI0Sv83yAg+TQtaiGeqZ8OSnxnEKsm8tZPfiM8rm/qg5QPJNwnf5Vi2Ur36ijlN9busPrTqTpj5fL9m62Mm9JJp9Gx+pOpOmPl902O11IRlkq4bHhnka39W9j6J1Qup9pdbge+atisJTHUt5h7RG/yewADzaU1Er1WjykzZnezQ1RDJXGmkOmWYjIT+TKOr+tlPcpNZbi8S70G4uOCy0qgICAgICAgICAgICCiCqAgICAgICAgICCJt4u9sU0hpcOySSMdaWZwzxxkcWNAPXf28h62sQzM6RptlvHrMSIhuY4nENFPBm++E6dcjWS593hw0J1WtRDO5lt9mdztXO0S1rvmsZ1EYGeYjvHBnnr3KTY6dO2pNgqKlZeKAOe3jJL99ce/XQeQCiSrW02dhYHOZ3ss21vs9FWXE4phk7bj5zHJm6jSZ44QzNoXvY/rDKNeq83IGlrhRuGuoMFe+aMGUtZnDnO+dtkcGx9VrbMkN5JD1jbqtBAB4hCZd7UDqkkAjv1Hoq5uDx3CoXkno2tPa0ZT8E0sTMOfk2emsTCDIPo+95dvgruYXtLb7GbxKvDXdG1xkhGhppibN/MPGM9w07uaaiV3MJJ3fb3enlFNiWSN0jrRTsGSMk8I3gk5HdhvY/E5mG4ttLijQgICAgICAgICAgICAgICAgICAgIIx36bS1FJSxQ07hGKl0jJJQ4CRoaGnLGOIzXN3crdpCsRtJnSCdncCqK+dtLSR5nczwZG3m57uQ+J7zotTOvDnEb8vR2wW72mwxuYAS1OUZ53DUX5Rt9xvHvPMrDppuNq9qqWgiz1coaXA5Ix15H2+gwanx4DmQhKCdqN788pcyjjbCw3GZ9pZD329hvhZ3iqzEbR9X4xPOSZppH35OeSPJvAeSjWoW4sPkc3OG6LnOWsTrb0MXpnJyYv1ta9mKuj4GXSYlLF+Clezua4geY4FEmG0g2ok4TAPHbYNd8NCrtmaR7O92br4ZYi+N4LgLuadHt05js7xortzmJhz+0ULamS9gHfSGh/1TRE6cpKx0bix4vy7nBWJ32lf4wn/cRtLPUwS087hI2mEYjkc4GSzs3UeOJAy6Ot3crDMxp0rO0pqNCAgICAgICAgICAgICAgICAgIMPF8SjpoJKmd2WOJhe49w5AcyeAHMkIPLWMYlVY7iYyNu+V2SGO/VhjBJFzyAFy53M37gteGfL0Js3sj9zMPdT0HRmpcy5mmBDZJLaOflucg5NH2krKxDjdptp4cEjlgp3/OcRnIfU1UvWs63VLwOwHqQjRo48etdJM+0IKxbFpaiV0s0jnvebue85nO8TyHYBoE2RHywFGhB1OEVedgAHAceS87LTps/d+k8yc2GK1r4+5i1GBXu5r9dTay615GtRMPg5H6PdU2vS/fzrTQubY2PJfZE7flLVmszEiI+4ZS1wcwlrhwINlUlvaetNQ1sJAbLnBD9QdL3Lbe93f/FfLnMdPdv6TZfPB0ctmuscrhfQg6HXt5ppnq77abZ7GqjCa4Ss9uM5XsJs2Vhtmae42FjyIB5K+W4+Xq3AsWiq6eOqgdmjlYHNPMci09jgQQR2grDoz0BAQEBAQEBAQEBAQEBAQUQVQEED/KG2rzSMwuJ3VZaWex4uIvEw+AOax+kzsVhG93K7Kikpfncrfv8AUtBFxrHFxY3uzcT+j2Iy6PeBtmKClOQjp5ARHfXIB7UhHdyHM+BSIJtrw8wYlXumeXuJN3E3cbkkm5c483E8Skyta6YajQgv0VMZHhoIHisZL9EbfVw+LPJyxjidOiicyECJpubi/wBq+Geq+7S/ZYrYOFFcFJ3O+/4r9e7JaT6J18Cs0jfZ9POv+piueP3fP0lzOJTtfIXMFgfj3r78VZrXUvxHqOfFnz2yY41E/wDdsVdHwiC7lc0i4LXaEHVp7rKokjZjHvnMWV9uljAzH6Q4B47/ALfFWJcrV01+2GHCSPpW/hIxr+UOfp/FJSsuo+T5tX0c78Nld1JryQ392Rou9o/OaL+LO9JdoT8sqICAgICAgICAgICAgIKFAQVQWK+rbDFJNIbMjjdI49jWNLnH0BQeU9maR+MYyHTAkSzvnm5gMBzFvh7LR4hVJ8PSEsgY0knK1oueQAA+oBGHnDePtC6qqnG+htYfRaPwbPTU97rpJWN90jbndkGRUEmISgOlqIpBHex6OMXGn5TiL+AHeo1KCEaEH1G8tNwbFSYiY1LePJbHaLVnUt9gcIDTM/U6/BfHnt36Yfq/RMFa47cnJ3llzO6aB1uYPw1C5x+xeHo5bRzeHfp94n/cOUXovwAgIPRO8jZJlZhUc7ABPT0zZGu0GZoYC9hPxHeFXOO3dAmFYg6CZszeRs4doPEeY+IRqY3GnZVmLNPs9a49Qf8ARacXI09W+mqWTxaPilbKy+ti11wD2jTXxU/g7V7w9jYTXtqIIqiP2JomSN8HtDhfv1WWmWgICAgICAgICAgICAgogIKoOD33Yn0GDTgGzpnRwD9N13jzY16Divk2YSLVdY4C92QMPZ78n+X6Ijvt6NW2GgfbQyOEd+wauef1WkeasM38PKlVOXvc88XOJ8L8lGojT07u+/EVP/VH/W9EeXUaEBBvpKxgpsrHa2A9V8UUtOTcw/V5Obgp6dOPHbvrX3rWCVzWNcHnQLefHMzEw4ei+oY8NLVyz2hqp3AucW8CTZfRWJiI28DPalstpp4mey2tOQg9ZYp+J5P7OP7lX3c/Z5PZ2dv+wo3Lptn4HTQ6AnI7L8LhahyvHdj7TYa6MMeRYElt/j/H0SVxy9AbiMT6bB42EkmnmkhN/ESN8g2QDyUl1SGoCAgICAgICAgICAgIKFAQVQQ/8pOotRUsf0qpz/1I3D/3QbrcHShmDMcP5WeZ58ndH9TAiNXv/q8sEbP6OQn9MsYPtVhm3mHnZRtM2y2x+IS4bFPDi8kUToHObCA+zQM126PtyPLmqyhlRp127TC46iqe2VjXhsJcA8Zm3zNGo56EryPWeRfDgiaTrc67f1ed6lkvTHXpnXd00+OYRFI6N9IA9jix1oWuFwbGxvqLheXXiep5KxaMvae8d3wVwcy9YtFp1Pf/AJPjbfDqV2GCrp4WMDnRlha0MdZxsb2+pa9Mz8iOZ+py3mdb33b4eTLHIilpn3iY3vwbvMNp/ue+pnhY/LI8uLmhxytAOl+zXRPV8+f/AMquLHaY3Ea7+8nOyZP1/TWZ9v7s2l2hwiR7Y2U7S5zg1o6AC5JsNVxvwvUqVm1r9o/mc78fk0rNrb1H835ud3s4ZHBLB0UbWZ43lwYMo0cLaL0fQs98tL9czOpjy+z0y9pi8Wnfj8XBr3nqp4rdk8RGHPldjEjoxRl5i6LQt6K+S+bhbRVzQQDbVR0SjuOoummqotNI2PFxfg5zT+0FWLRvTot7+z+TDDJp97micNLe1dlv8XwRKxqWR8mmqvBWxfRmif8ArteP8sJLomdQEBAQEBAQEBAQEBAQEBAQQv8AKWYegonchLMPVrLfUUHWbjj/ANDpu50//kSIOU+UIDkaf6Fn74K+zE/8oQGo29RbvvxFT/1R/wBb0ZeXUadnuuqXR1Mr2xvlIpnHIzLmPXZ2kLxfW6RfDSs2iv7XmfpLzPVI3SkTOu/4OYxecyVEsjmlhdK9xYeLSXEkHvC9Tj0imKlYneojv8vuwViuOsRO+0d3aV2IufgLY3QPYGPja2Q2yyWcTdut/hbvXi4sFaeqTaLxO4mZj3j8Hl0pFeb2tE+Z+nZu93EQkwuSJxytfJI0v5NzNA9fGwXw+sW6ObW8d5iInT5+fbp5Ez9FaLd1TRSMlbVuJY9rgD0diWm+qZPW8+Sk0nH5jXuuT1HJek1nXf6/7ajfI+8tPcW+9v8APrDhz9Qvs/R2NUyfWH0+lfv/ANPxR0v0T13q/FfxNJ/Zp/cK+7n7PKCjolv5PcRdXVWU2Hzb/Nbb7UZ12dxvqpnMweYude74B59K3+BQiO7nvkzMP/Pu5f8AKj9+jScUBAQEBAQEBAQEBAQEBAQEEVfKLoy/DIpQPwVWwnua9j2/tZPVBXcBioOEmM8YqqRtu5wa8H1c70RNre+6LpqUOA9mOQdvs5Xt/ZKsMTPeHnRR0TJsviOOtw2JtLSU7qYQODHuLMxZ1rk3mBvx5KsobUad1uhcBWSEmwFM4knl12Lwv0giZ49Yj/6/CXlerf8Arr9fwWsZ2HrZaiaVkPVfK97SXtabOcSLgm405Fa4/q3Fx4qUtbvERHiVwc/DTFWsz3iI9nRbQYbL9xoKTITM2SNhjFib9c+B05rzuJnx/aF82/2ZiZ39z4cGakcqckz27r+xlBI3C6mlewtmL5GZDobvjaW/Ahc/Uc1Lc3Hmid11E7+knLy1tni8T27f2c1hWwVdHPFI6MZWSscbSNOgcCdOa9PP6xxL47Vie8xMeH2ZufhvjtWIncxPszd8zgZqYjh0T/2guP6OxrHk+sf4T0r9/wDp+KOV+jeunWur8c+5z2vpaUQfMyC4P63R9Fxtn45VXNBYCjonD5NlN/3s7rDMYY26i5Izuf8AWxEb35RVbkwyKIHWWrZp2tYx7j8ciKsfJvo8tBUTEfhKrKD2iONv2vd8UEuICAgICAgICAgICAgICAgIOa3j4QavCquBou4wl7AOJdERIwDxLQPNBCW4nF8lRPSk6SxiRv50ZNwO8tcf1VWbJS2kpDNTvFr5Rm9OPwurDnLzPi1GYZnxH3XEDvB1afMELLrE7h6X3ffiKn/qj/reiPMETMzg24FyBc8Bc81LTqJlbT0xMu4wrZSpgk6SnrKcODHFxD7gNFiS4FtrA2XhZ/UcGavTlxW19Pf73jZedhzR03pLGxjafE6aUxS1Gtg4FrY3NcDwc05dQV14/A4GenXSn+dxPxPd3wcXi5q9VY/vP+2HUbQ4i9zHOdKSx2Zp6ICxsexuvE8V2pwuDSJiIjv2nv8Am1HH4cb7x3/m/NWn2ixFj3yNMuZ5u68V7mwHDLpoBw7ApfhcG1YrMRqPHf8ANLcfhzERuO3835vs7wK8aGb/AAN/gp9jcOf3f7y39nYJ+fvabGcamqnh878xAsNA0Dt0C+3jcXFx6zXHGn0YOPTDExSPLXL6Hd6txb8SSf2Yf3Cvu5+zymFHRKOxc76SlZlJBcTK4DQ9a1vPKAtRDjae7Q7y9opKqSKF7i4QMcbE3s6SxPwaxSW6eHoPdXhBpcIpInCznRdK64sQZiZLEdoDgPJRt1iAgICAgICAgICAgICAgICChcg8r7X0LsGx0vibZjZRUQgWAdFITdg7B7bP0UTy9C4fPHPDHPEc0csbXtPa1wuL9/aFWEIb3tlTFJ08Y0AvprdhNx5tJN+435JJXtOm23S7eRNo5cPrJWx9HG8wSSODA5rr3jLjpcE6doNuSjcodp5Mr2u16rgdNDob6LN46qzCXr1VmPmEhSbwoXBzXxVDmuY5jg6Vp0cLG2mhX56PRctZiYtWJiYnxPs8SPS8sTExaG0w3ZqSqq4KuojYymjhZ0MTXdIbNAMYdprxufCy+XNz8fHwXw45mbzM9U619dOVuRXHitjpubTPef8AOkgr8888UEZ7abASS1DqilyBj2l72uOWzh7RGnA/Xdfp/TfWaY8UY829x2j6fk9bieoVx4+i8T28fRGJC/UPcUQThvG28jjwuGipJWvlnpo2yOY4PEbMgDgSODncLchfuVYjui3Y/AXVlS2O33tgzyHlYcr9p4evYizOoSPi8TYmukfo1jS4+A4DxK046cJsLgjsUxWKJwux0nSzdgjYbuHdfRo73BYd9ah64ARVUBAQEBAQEBAQEBAQEBBQlBbc5EWnSIiO98uyvz6i6WJt6imzPYBqXsP4RlhxOgI7xbmhtxu4zbMMP3LqHWa5xdTuPAONy6K/K5uR33HMISlbaTDGTwmN9gQCWk62PMHtB5hVmYea9sdl30kjnNaejLvHITwaT2dh/wBlLVbbc0o0IJ72CcTh1OSSSWG5JLjo4gce4BfgfVYiOXkiPl+V5URGa+vl0C8984g1G1ziKGoIJBEDyC0lpBA01C+v0+Ink44n5h1wRE5aRPzH+Xntf0N+tEGwwbCpamZkMDC+SR2VjBz7STyaOJPKyrMz7PROzuxDKClELTmkPWlkseu8jgOxo4AfaSjNkT708fDpPmUTgWxuvK4c3j3L9jeff4JK0r7pR3I7J/MqM1MzbT1Qa6xFjHGNWN7ib5j4tHJGtpMa9QfYcivpAQEBAQEBAQEBAQEBBbeURYe5EY73ojGkkVRA+9jYs00pxCkBETn5pGt0MLyfbbbg0n0PcQjUT7Oo3fbwvnzW01U4CpaLAnQTgDiPy7cRz4jmAhLQ6PG8MZO3I5oJta5ANweII5hVhD21ewEsDi6Fpyn3Cb/qOPteB18VNNxb5cRJGWktcCCOIIsR4gqNpR2a23pYMPjhdI4SsicLdG5wDruLdbW5hfleZ6TyM3Ktkiv7MzHv7PA5HBz3y2tEdpn5hzf/ABIrvps/u2r0vsPifE/fL7vsvD/H7/yP+JFd9Nn921PsPifE/fJ9l4f4/f8Ak6fEtu6abD3xOkcZ30xaR0ZALy3XW1gLrzMPpGfHy63iv7MW359tvhx8DNXNE67RPzHjaKmtJNgLnu1X6t77o9mNkKiskyQx5iPaJ6rGd8j+X5ouT2K6Ym2/CfNg9k4cNabWfM8WknIsT+Qwe4y/LnYXvoiQ0e9neM2kY6ipHh1U4ZXvbqKcHjr/ADp7Pd48bKNacNuj2G+dyitqm3p433Y138u8H4saePadO1UmXoRj0RfY5FX2lFXQoqqAgICAgICAgICAgoUFmQqoxZHIyxZHojEmkRGtrCHNLXAOa4EFpFwQRYgg8QqiEdt9iXUzzU0WYxB2bKCS+Eg3u08S0dvEc+1SYbrb2lvNht6DbthxLjwbUAX/AL1o/aHmOJTZNfh0O1ONzTSNhpSxlO2Pp5q2VolgLB7rDwffuN78LWJRNfLk42MrDAyppgw1OfoHg5g8MuS/KT0sTDbQkuHkhrXhj127Qm7oHEi/FhbO3w0IP1po65aWo2CqGmwv+lHI36mlNHW+I9hqg8Q79GKR31tCaOtnR7BOZZ07mxg85pGU4PcASXHyCuoOqZ8OgodnqKnsZH9O4TPY+OO8DGthbmqJHyO6744wDq2wLrNB4kNnTM+XVbB40JT84mfHS0sEZkFPHJHDFF0gtF0gZcyOLSTeRzTcC0fByjWtOa3hb1w8ugwwkNOjqkgtce0RNOrR+UdewDQodLQbCbBuq3NqKzM2AnNlJIfNz48WtPN3E8uNw0k214TxQlrGNYxoaxrQ1rWjKGgCwAA4BVnbYRSorLjeorJjcishqjT6QEBAQEBAQEBAQEFCgx5SqzLBmKqMKZyMsGd6I1lTIqy01dLoiI22o2ejeTJGMjzqbey7xHI94TpbreYcvS19RS5mNd1HHrRuAlifqPajddp4DW1/BZ1MOkTEt7LtfHOJnVEb45po2RumhPSAMaetG2F7m5GOGhyvHxNxpsW4rDd09JLTRTiLoYmRMdRtaHA9JLIXgB8ltGtLiAbG5IRF7C6qpbmdHWAuDWwxB1axwu8EPqJ4zPI0Butg08bG2hCHZucHxnoKp5qZS5jWiGF0lbAWFrSS+Z95SS97uFmnKCBw4EmGrwrH4Ial1XW1DJJHOLyIHOmNwfvbGkRANYBbQyEacNSi6+GobtrDTxTQ0VK0id7nPdOBYh3uCJnuAcAXHjc3RdS56erqKstY4ktb7LGgRxM/NY0BrfIXTUyTMQ7DZPZWJhEk4EjxqAfYb5e8fH0WtOc3mUmUkiMtvTSKK2UD0aZ0JUVnQo1DKYo0+0BAQEBAQEBAQEBBQoLEoVSWJKxVlhyxIjBngRnTXVFKVU009ZQk8lUc3ieEuN7BVHG4vs/Ib9UoRLl6nCZGH2D6LM1dYvHuw3REcQR5LOpb6ofNlNKAJoXGU7jwaT5K6lOqGyocDkcdWH0Woq52v8OvwfAXi3V+C05uzw3CnC2iiuhpKE9iittT0hUXTYQ06LpnQwo1pmxMUaXwFFVQEBAQEBAQEBAQEBB8OCqLL2Iiy6JVNLLqdDSw+kCJpYfQDsVTTGkwtvYhpizYKw8WptNMKXZyI8WD0V2nSxH7JQHjGPRNnSt//i6f+ab6Js6X03Yun/mm+ibOlkw7JQjhGPRNnSzodnIxwYPRTa9LNiwVg91Ta9LLjwxo5IumSyhHYi6X2UoUXS82BDS82NFXAFFVQEBAQEBAQEBAQEBAQUIQULUR8lio+TGg+TEhp8mFE0+TAhpbdTKmlp1KiafBpENKClRNPttKi6XW0ybNLradTa6XBCi6fYiUH0GIKhqKrZBVAQEBAQEBAQEBAQEBAQEBAQEBBSyBZAsgplQULER8mNUOjQVDFB9BqKrZBVAQEBAQEBAQEBAQEBAQEBAQEBAQEBAQEBAQEBAQEBAQEBAQEBAQEBAQEBAQEBAQEBAQEBAQEBAQEBAQEBAQEBAQEBAQEBAQEBAQEBAQEBAQEBAQEBAQEBAQEBAQEBAQEBAQEBAQEBAQEBAQEBAQEBAQEBAQEH/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5186" y="5385094"/>
            <a:ext cx="1597756" cy="1135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8"/>
          <p:cNvSpPr txBox="1">
            <a:spLocks noChangeArrowheads="1"/>
          </p:cNvSpPr>
          <p:nvPr/>
        </p:nvSpPr>
        <p:spPr bwMode="auto">
          <a:xfrm>
            <a:off x="3851920" y="5551610"/>
            <a:ext cx="2047305" cy="613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Σύστημα </a:t>
            </a:r>
          </a:p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πρόληψης </a:t>
            </a:r>
          </a:p>
          <a:p>
            <a:pPr algn="ctr">
              <a:lnSpc>
                <a:spcPct val="80000"/>
              </a:lnSpc>
            </a:pPr>
            <a:r>
              <a:rPr lang="el-GR" altLang="el-GR" sz="1400" dirty="0" smtClean="0">
                <a:latin typeface="Calibri" panose="020F0502020204030204" pitchFamily="34" charset="0"/>
                <a:cs typeface="Tahoma" pitchFamily="34" charset="0"/>
              </a:rPr>
              <a:t>ατυχημάτων</a:t>
            </a:r>
            <a:endParaRPr lang="el-GR" altLang="el-GR" sz="1400" dirty="0">
              <a:latin typeface="Calibri" panose="020F0502020204030204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223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mobileye.com/wp-content/uploads/2013/09/home-slider-bm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72127"/>
            <a:ext cx="9252520" cy="2568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228600"/>
            <a:ext cx="8384480" cy="990600"/>
          </a:xfrm>
        </p:spPr>
        <p:txBody>
          <a:bodyPr/>
          <a:lstStyle/>
          <a:p>
            <a:r>
              <a:rPr lang="el-GR" altLang="el-GR" sz="4400" b="1" dirty="0">
                <a:latin typeface="Calibri" panose="020F0502020204030204" pitchFamily="34" charset="0"/>
              </a:rPr>
              <a:t>Σύστημα πρόληψης </a:t>
            </a:r>
            <a:r>
              <a:rPr lang="el-GR" altLang="el-GR" sz="4400" b="1" dirty="0" smtClean="0">
                <a:latin typeface="Calibri" panose="020F0502020204030204" pitchFamily="34" charset="0"/>
              </a:rPr>
              <a:t>ατυχημάτων</a:t>
            </a:r>
            <a:endParaRPr lang="el-GR" sz="4400" dirty="0">
              <a:latin typeface="Calibri" panose="020F0502020204030204" pitchFamily="34" charset="0"/>
            </a:endParaRPr>
          </a:p>
        </p:txBody>
      </p:sp>
      <p:sp>
        <p:nvSpPr>
          <p:cNvPr id="5" name="object 40"/>
          <p:cNvSpPr/>
          <p:nvPr/>
        </p:nvSpPr>
        <p:spPr>
          <a:xfrm>
            <a:off x="611560" y="4725144"/>
            <a:ext cx="1959102" cy="13000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pPr algn="l" rtl="0"/>
            <a:endParaRPr/>
          </a:p>
        </p:txBody>
      </p:sp>
      <p:sp>
        <p:nvSpPr>
          <p:cNvPr id="6" name="object 41"/>
          <p:cNvSpPr/>
          <p:nvPr/>
        </p:nvSpPr>
        <p:spPr>
          <a:xfrm>
            <a:off x="1099430" y="3890296"/>
            <a:ext cx="1127696" cy="108021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pPr algn="l" rtl="0"/>
            <a:endParaRPr/>
          </a:p>
        </p:txBody>
      </p:sp>
      <p:sp>
        <p:nvSpPr>
          <p:cNvPr id="7" name="object 42"/>
          <p:cNvSpPr/>
          <p:nvPr/>
        </p:nvSpPr>
        <p:spPr>
          <a:xfrm>
            <a:off x="230179" y="3264898"/>
            <a:ext cx="1439672" cy="13243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pPr algn="l" rtl="0"/>
            <a:endParaRPr/>
          </a:p>
        </p:txBody>
      </p:sp>
      <p:pic>
        <p:nvPicPr>
          <p:cNvPr id="2052" name="Picture 4" descr="http://i.ytimg.com/vi/6-Y4CSnE3CI/maxresdefaul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684" y="3940174"/>
            <a:ext cx="5238836" cy="294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61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527050" y="2744887"/>
            <a:ext cx="2520950" cy="282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Pedestrian </a:t>
            </a:r>
            <a:endParaRPr lang="en-GB" sz="18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>
              <a:defRPr/>
            </a:pP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Collision Warning</a:t>
            </a:r>
          </a:p>
        </p:txBody>
      </p:sp>
      <p:pic>
        <p:nvPicPr>
          <p:cNvPr id="49" name="Picture 3" descr="F:\LANE LEFT 01.jpg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41738" y="1416050"/>
            <a:ext cx="1622425" cy="1152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0" name="Picture 2" descr="F:\FCW 01.jpg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73838" y="1438275"/>
            <a:ext cx="1560512" cy="11096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1" name="Picture 6" descr="F:\SAFE 01.jpg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530975" y="3702050"/>
            <a:ext cx="1620838" cy="1152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2" name="Rectangle 51"/>
          <p:cNvSpPr/>
          <p:nvPr/>
        </p:nvSpPr>
        <p:spPr>
          <a:xfrm>
            <a:off x="3413125" y="2760762"/>
            <a:ext cx="2279650" cy="3540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Lane </a:t>
            </a: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Departure Warning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224588" y="2744887"/>
            <a:ext cx="2281237" cy="3540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Forward</a:t>
            </a:r>
            <a:endParaRPr lang="he-IL" sz="1800" b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algn="ctr">
              <a:defRPr/>
            </a:pP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Collision Warning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200775" y="5019775"/>
            <a:ext cx="2281238" cy="3540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Headway </a:t>
            </a: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Monitoring</a:t>
            </a:r>
          </a:p>
        </p:txBody>
      </p:sp>
      <p:sp>
        <p:nvSpPr>
          <p:cNvPr id="23561" name="כותרת 3"/>
          <p:cNvSpPr txBox="1">
            <a:spLocks/>
          </p:cNvSpPr>
          <p:nvPr/>
        </p:nvSpPr>
        <p:spPr bwMode="auto">
          <a:xfrm>
            <a:off x="527050" y="219075"/>
            <a:ext cx="7978775" cy="909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rtl="1" eaLnBrk="1" hangingPunct="1"/>
            <a:r>
              <a:rPr lang="el-GR" altLang="el-GR" sz="4400" b="1" dirty="0" smtClean="0">
                <a:latin typeface="Calibri" panose="020F0502020204030204" pitchFamily="34" charset="0"/>
              </a:rPr>
              <a:t>Σύστημα πρόληψης ατυχημάτων</a:t>
            </a:r>
            <a:endParaRPr lang="he-IL" altLang="el-GR" sz="4400" b="1" dirty="0">
              <a:latin typeface="Calibri" panose="020F0502020204030204" pitchFamily="34" charset="0"/>
            </a:endParaRPr>
          </a:p>
        </p:txBody>
      </p:sp>
      <p:pic>
        <p:nvPicPr>
          <p:cNvPr id="47" name="Picture 5" descr="F:\PEDESTRIAN FRONT 03.jpg">
            <a:hlinkClick r:id="rId8"/>
          </p:cNvPr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95363" y="1438275"/>
            <a:ext cx="1560512" cy="11096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Picture 2" descr="\\10.1.10.3\docs\Marcom\Images\Product Photography\Mobileye C2-270\Renders\IHC blue.jpg">
            <a:hlinkClick r:id="rId10"/>
          </p:cNvPr>
          <p:cNvPicPr>
            <a:picLocks noChangeAspect="1" noChangeArrowheads="1"/>
          </p:cNvPicPr>
          <p:nvPr/>
        </p:nvPicPr>
        <p:blipFill>
          <a:blip r:embed="rId11"/>
          <a:srcRect r="13658"/>
          <a:stretch>
            <a:fillRect/>
          </a:stretch>
        </p:blipFill>
        <p:spPr bwMode="auto">
          <a:xfrm>
            <a:off x="3765550" y="3690938"/>
            <a:ext cx="1609725" cy="1152525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 16"/>
          <p:cNvSpPr/>
          <p:nvPr/>
        </p:nvSpPr>
        <p:spPr>
          <a:xfrm>
            <a:off x="3503613" y="5030887"/>
            <a:ext cx="2279650" cy="3540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Intelligent </a:t>
            </a: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High-Beam Control</a:t>
            </a:r>
          </a:p>
        </p:txBody>
      </p:sp>
      <p:pic>
        <p:nvPicPr>
          <p:cNvPr id="18" name="Picture 2" descr="http://t0.gstatic.com/images?q=tbn:ANd9GcS3ifTId7kpgpdLPNzQpd1sUKlbAfkYYJkQCFD8huQwvhylrGaKAFVZca55">
            <a:hlinkClick r:id="rId12"/>
          </p:cNvPr>
          <p:cNvPicPr>
            <a:picLocks noChangeAspect="1" noChangeArrowheads="1"/>
          </p:cNvPicPr>
          <p:nvPr/>
        </p:nvPicPr>
        <p:blipFill>
          <a:blip r:embed="rId13"/>
          <a:stretch>
            <a:fillRect/>
          </a:stretch>
        </p:blipFill>
        <p:spPr bwMode="auto">
          <a:xfrm>
            <a:off x="938213" y="3736975"/>
            <a:ext cx="1560512" cy="1108075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</p:spPr>
      </p:pic>
      <p:sp>
        <p:nvSpPr>
          <p:cNvPr id="19" name="Rectangle 18"/>
          <p:cNvSpPr/>
          <p:nvPr/>
        </p:nvSpPr>
        <p:spPr>
          <a:xfrm>
            <a:off x="635794" y="5091211"/>
            <a:ext cx="2279650" cy="3540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800" b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Traffic </a:t>
            </a:r>
            <a:r>
              <a:rPr lang="en-GB" sz="1800" b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Sign Recognition/Speed Limit Indication</a:t>
            </a:r>
          </a:p>
        </p:txBody>
      </p:sp>
    </p:spTree>
    <p:extLst>
      <p:ext uri="{BB962C8B-B14F-4D97-AF65-F5344CB8AC3E}">
        <p14:creationId xmlns:p14="http://schemas.microsoft.com/office/powerpoint/2010/main" val="37966185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-3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09</TotalTime>
  <Words>707</Words>
  <Application>Microsoft Office PowerPoint</Application>
  <PresentationFormat>On-screen Show (4:3)</PresentationFormat>
  <Paragraphs>122</Paragraphs>
  <Slides>21</Slides>
  <Notes>0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Blank Presentation</vt:lpstr>
      <vt:lpstr>PowerPoint Presentation</vt:lpstr>
      <vt:lpstr>G4S Telematix S.A. </vt:lpstr>
      <vt:lpstr>Η Ανάγκη του Eco Driving</vt:lpstr>
      <vt:lpstr>Στατιστικά ατυχημάτων στο δρόμο</vt:lpstr>
      <vt:lpstr>PowerPoint Presentation</vt:lpstr>
      <vt:lpstr>PowerPoint Presentation</vt:lpstr>
      <vt:lpstr>Η τεχνολογία πίσω από τη λύση</vt:lpstr>
      <vt:lpstr>Σύστημα πρόληψης ατυχημάτων</vt:lpstr>
      <vt:lpstr>PowerPoint Presentation</vt:lpstr>
      <vt:lpstr>Σύστημα οδηγικής συμπεριφοράς</vt:lpstr>
      <vt:lpstr>Καταγραφή και αναπαράσταση ατυχήματος</vt:lpstr>
      <vt:lpstr>PowerPoint Presentation</vt:lpstr>
      <vt:lpstr>PowerPoint Presentation</vt:lpstr>
      <vt:lpstr>PowerPoint Presentation</vt:lpstr>
      <vt:lpstr>PowerPoint Presentation</vt:lpstr>
      <vt:lpstr>CAN BUS – Ο εγκέφαλος του οχήματος</vt:lpstr>
      <vt:lpstr>CAN BUS – Ο εγκέφαλος του οχήματος</vt:lpstr>
      <vt:lpstr>Απεικόνιση Μηχανικών / Ηλεκτρικών ενδείξεων οχήματος σε πραγματικό χρόνο</vt:lpstr>
      <vt:lpstr>PowerPoint Presentation</vt:lpstr>
      <vt:lpstr>Συμπέρασμα</vt:lpstr>
      <vt:lpstr>Καλές και ασφαλείς διαδρομές !!!</vt:lpstr>
    </vt:vector>
  </TitlesOfParts>
  <Company>Matthew Kirb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Kirby</dc:creator>
  <cp:lastModifiedBy>Chronopoulos  Michalis</cp:lastModifiedBy>
  <cp:revision>651</cp:revision>
  <dcterms:created xsi:type="dcterms:W3CDTF">2005-04-19T10:45:17Z</dcterms:created>
  <dcterms:modified xsi:type="dcterms:W3CDTF">2015-03-26T23:19:50Z</dcterms:modified>
</cp:coreProperties>
</file>